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4.xml" ContentType="application/vnd.openxmlformats-officedocument.presentationml.notesSl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charts/chart12.xml" ContentType="application/vnd.openxmlformats-officedocument.drawingml.chart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3.xml" ContentType="application/vnd.openxmlformats-officedocument.drawingml.chart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charts/chart20.xml" ContentType="application/vnd.openxmlformats-officedocument.drawingml.chart+xml"/>
  <Override PartName="/ppt/tags/tag427.xml" ContentType="application/vnd.openxmlformats-officedocument.presentationml.tags+xml"/>
  <Override PartName="/ppt/notesSlides/notesSlide8.xml" ContentType="application/vnd.openxmlformats-officedocument.presentationml.notesSlide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2" r:id="rId4"/>
  </p:sldMasterIdLst>
  <p:notesMasterIdLst>
    <p:notesMasterId r:id="rId27"/>
  </p:notesMasterIdLst>
  <p:handoutMasterIdLst>
    <p:handoutMasterId r:id="rId28"/>
  </p:handoutMasterIdLst>
  <p:sldIdLst>
    <p:sldId id="256" r:id="rId5"/>
    <p:sldId id="2147471290" r:id="rId6"/>
    <p:sldId id="2147471289" r:id="rId7"/>
    <p:sldId id="2147471241" r:id="rId8"/>
    <p:sldId id="2147471285" r:id="rId9"/>
    <p:sldId id="2147471282" r:id="rId10"/>
    <p:sldId id="2147471272" r:id="rId11"/>
    <p:sldId id="2147471273" r:id="rId12"/>
    <p:sldId id="2147471274" r:id="rId13"/>
    <p:sldId id="2147471275" r:id="rId14"/>
    <p:sldId id="2147471270" r:id="rId15"/>
    <p:sldId id="2147471288" r:id="rId16"/>
    <p:sldId id="2147471284" r:id="rId17"/>
    <p:sldId id="2147471247" r:id="rId18"/>
    <p:sldId id="2147471291" r:id="rId19"/>
    <p:sldId id="2147375065" r:id="rId20"/>
    <p:sldId id="2147471252" r:id="rId21"/>
    <p:sldId id="2147471280" r:id="rId22"/>
    <p:sldId id="2147471279" r:id="rId23"/>
    <p:sldId id="2147471281" r:id="rId24"/>
    <p:sldId id="2147471276" r:id="rId25"/>
    <p:sldId id="2147471278" r:id="rId26"/>
  </p:sldIdLst>
  <p:sldSz cx="9144000" cy="5143500" type="screen16x9"/>
  <p:notesSz cx="6858000" cy="9144000"/>
  <p:custDataLst>
    <p:tags r:id="rId2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9C13DC8E-1ABF-443B-9759-CFA5652D7AE9}">
          <p14:sldIdLst>
            <p14:sldId id="256"/>
          </p14:sldIdLst>
        </p14:section>
        <p14:section name="Introduction" id="{2DBB5889-DB6B-4255-B4CD-DCE521322C4B}">
          <p14:sldIdLst>
            <p14:sldId id="2147471290"/>
          </p14:sldIdLst>
        </p14:section>
        <p14:section name="Question and Background" id="{39050FF7-79F3-412B-9D81-7DF6F08F071A}">
          <p14:sldIdLst>
            <p14:sldId id="2147471289"/>
            <p14:sldId id="2147471241"/>
          </p14:sldIdLst>
        </p14:section>
        <p14:section name="Methodology" id="{B010804A-EE99-4E73-B560-FCAF8279A9C0}">
          <p14:sldIdLst>
            <p14:sldId id="2147471285"/>
            <p14:sldId id="2147471282"/>
          </p14:sldIdLst>
        </p14:section>
        <p14:section name="Results" id="{89F064A8-54E3-4B8A-96D6-E2E3FF123A32}">
          <p14:sldIdLst>
            <p14:sldId id="2147471272"/>
            <p14:sldId id="2147471273"/>
            <p14:sldId id="2147471274"/>
            <p14:sldId id="2147471275"/>
            <p14:sldId id="2147471270"/>
            <p14:sldId id="2147471288"/>
            <p14:sldId id="2147471284"/>
            <p14:sldId id="2147471247"/>
          </p14:sldIdLst>
        </p14:section>
        <p14:section name="Shout-outs" id="{67D0AE81-70E8-4822-8B07-8062D66089F6}">
          <p14:sldIdLst>
            <p14:sldId id="2147471291"/>
            <p14:sldId id="2147375065"/>
            <p14:sldId id="2147471252"/>
            <p14:sldId id="2147471280"/>
            <p14:sldId id="2147471279"/>
            <p14:sldId id="2147471281"/>
            <p14:sldId id="2147471276"/>
            <p14:sldId id="2147471278"/>
          </p14:sldIdLst>
        </p14:section>
      </p14:sectionLst>
    </p:ex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5" pos="2736" userDrawn="1">
          <p15:clr>
            <a:srgbClr val="A4A3A4"/>
          </p15:clr>
        </p15:guide>
        <p15:guide id="6" pos="5472" userDrawn="1">
          <p15:clr>
            <a:srgbClr val="A4A3A4"/>
          </p15:clr>
        </p15:guide>
        <p15:guide id="7" pos="288" userDrawn="1">
          <p15:clr>
            <a:srgbClr val="A4A3A4"/>
          </p15:clr>
        </p15:guide>
        <p15:guide id="9" pos="3024" userDrawn="1">
          <p15:clr>
            <a:srgbClr val="A4A3A4"/>
          </p15:clr>
        </p15:guide>
        <p15:guide id="10" orient="horz" pos="16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99"/>
    <a:srgbClr val="FF5700"/>
    <a:srgbClr val="FFCC00"/>
    <a:srgbClr val="FFFFCC"/>
    <a:srgbClr val="FFCCCC"/>
    <a:srgbClr val="BF9A30"/>
    <a:srgbClr val="D4DDE2"/>
    <a:srgbClr val="FFE100"/>
    <a:srgbClr val="7A868E"/>
    <a:srgbClr val="3D50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7" d="100"/>
          <a:sy n="97" d="100"/>
        </p:scale>
        <p:origin x="404" y="68"/>
      </p:cViewPr>
      <p:guideLst>
        <p:guide pos="2880"/>
        <p:guide pos="2736"/>
        <p:guide pos="5472"/>
        <p:guide pos="288"/>
        <p:guide pos="3024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668639053254437E-2"/>
          <c:y val="5.6644880174291937E-2"/>
          <c:w val="0.9526627218934911"/>
          <c:h val="0.88671023965141615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rgbClr val="016DED"/>
              </a:solidFill>
              <a:prstDash val="solid"/>
            </a:ln>
          </c:spPr>
          <c:marker>
            <c:symbol val="none"/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numCache>
            </c:numRef>
          </c:xVal>
          <c:yVal>
            <c:numRef>
              <c:f>Sheet1!$A$2:$H$2</c:f>
              <c:numCache>
                <c:formatCode>General</c:formatCode>
                <c:ptCount val="8"/>
                <c:pt idx="0">
                  <c:v>0.50489278845746399</c:v>
                </c:pt>
                <c:pt idx="1">
                  <c:v>0.66380643206659895</c:v>
                </c:pt>
                <c:pt idx="2">
                  <c:v>0.76983857103187803</c:v>
                </c:pt>
                <c:pt idx="3">
                  <c:v>0.81730429788895798</c:v>
                </c:pt>
                <c:pt idx="4">
                  <c:v>0.85133519445106598</c:v>
                </c:pt>
                <c:pt idx="5">
                  <c:v>0.86453619129641801</c:v>
                </c:pt>
                <c:pt idx="6">
                  <c:v>0.87204549236823203</c:v>
                </c:pt>
                <c:pt idx="7">
                  <c:v>0.862178129179423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904-44E3-B5DD-C4D8D71B3F33}"/>
            </c:ext>
          </c:extLst>
        </c:ser>
        <c:ser>
          <c:idx val="1"/>
          <c:order val="1"/>
          <c:spPr>
            <a:ln w="19050" algn="ctr">
              <a:solidFill>
                <a:srgbClr val="FFB265"/>
              </a:solidFill>
              <a:prstDash val="solid"/>
            </a:ln>
          </c:spPr>
          <c:marker>
            <c:symbol val="none"/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numCache>
            </c:numRef>
          </c:xVal>
          <c:yVal>
            <c:numRef>
              <c:f>Sheet1!$A$3:$H$3</c:f>
              <c:numCache>
                <c:formatCode>General</c:formatCode>
                <c:ptCount val="8"/>
                <c:pt idx="0">
                  <c:v>0.13575184627002099</c:v>
                </c:pt>
                <c:pt idx="1">
                  <c:v>0.20923660334542099</c:v>
                </c:pt>
                <c:pt idx="2">
                  <c:v>0.26810473367472698</c:v>
                </c:pt>
                <c:pt idx="3">
                  <c:v>0.31102742292234498</c:v>
                </c:pt>
                <c:pt idx="4">
                  <c:v>0.362512863588971</c:v>
                </c:pt>
                <c:pt idx="5">
                  <c:v>0.39393840418085202</c:v>
                </c:pt>
                <c:pt idx="6">
                  <c:v>0.41030350480280797</c:v>
                </c:pt>
                <c:pt idx="7">
                  <c:v>0.43307416680319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904-44E3-B5DD-C4D8D71B3F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06582239"/>
        <c:axId val="1"/>
      </c:scatterChart>
      <c:valAx>
        <c:axId val="1106582239"/>
        <c:scaling>
          <c:orientation val="minMax"/>
          <c:max val="2018"/>
          <c:min val="2011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  <c:majorUnit val="1"/>
      </c:valAx>
      <c:valAx>
        <c:axId val="1"/>
        <c:scaling>
          <c:orientation val="minMax"/>
          <c:max val="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106582239"/>
        <c:crosses val="min"/>
        <c:crossBetween val="midCat"/>
        <c:majorUnit val="0.25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12080536912751E-2"/>
          <c:y val="5.7585825027685493E-2"/>
          <c:w val="0.9563758389261745"/>
          <c:h val="0.884828349944629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.09433850351434E-2</c:v>
                </c:pt>
                <c:pt idx="1">
                  <c:v>9.5495121444882699E-3</c:v>
                </c:pt>
                <c:pt idx="2">
                  <c:v>7.9183842937216396E-3</c:v>
                </c:pt>
                <c:pt idx="3">
                  <c:v>4.71544233221626E-3</c:v>
                </c:pt>
                <c:pt idx="4">
                  <c:v>5.0120110323556497E-3</c:v>
                </c:pt>
                <c:pt idx="5">
                  <c:v>9.4012277944185794E-3</c:v>
                </c:pt>
                <c:pt idx="6">
                  <c:v>6.8803938432337904E-3</c:v>
                </c:pt>
                <c:pt idx="7">
                  <c:v>5.5754915626204798E-3</c:v>
                </c:pt>
                <c:pt idx="8">
                  <c:v>5.0120110323556497E-3</c:v>
                </c:pt>
                <c:pt idx="9">
                  <c:v>3.70710875174234E-3</c:v>
                </c:pt>
                <c:pt idx="10">
                  <c:v>3.7960793617841599E-3</c:v>
                </c:pt>
                <c:pt idx="11">
                  <c:v>5.7830896527180497E-3</c:v>
                </c:pt>
                <c:pt idx="12">
                  <c:v>3.8850499718259702E-3</c:v>
                </c:pt>
                <c:pt idx="13">
                  <c:v>5.0416679023695798E-3</c:v>
                </c:pt>
                <c:pt idx="14">
                  <c:v>4.7450992022301996E-3</c:v>
                </c:pt>
                <c:pt idx="15">
                  <c:v>5.3382366025089703E-3</c:v>
                </c:pt>
                <c:pt idx="16">
                  <c:v>5.75343278270411E-3</c:v>
                </c:pt>
                <c:pt idx="17">
                  <c:v>1.26931403659658E-2</c:v>
                </c:pt>
                <c:pt idx="18">
                  <c:v>1.1299267475310701E-2</c:v>
                </c:pt>
                <c:pt idx="19">
                  <c:v>1.0024022064711299E-2</c:v>
                </c:pt>
                <c:pt idx="20">
                  <c:v>9.8164239746137208E-3</c:v>
                </c:pt>
                <c:pt idx="21">
                  <c:v>7.7700999436519499E-3</c:v>
                </c:pt>
                <c:pt idx="22">
                  <c:v>8.68946291408405E-3</c:v>
                </c:pt>
                <c:pt idx="23">
                  <c:v>1.02316201548089E-2</c:v>
                </c:pt>
                <c:pt idx="24">
                  <c:v>2.36365254011092E-2</c:v>
                </c:pt>
                <c:pt idx="25">
                  <c:v>4.0956137489249402E-2</c:v>
                </c:pt>
                <c:pt idx="26">
                  <c:v>0.34384175094160602</c:v>
                </c:pt>
                <c:pt idx="27">
                  <c:v>0.16655298199828</c:v>
                </c:pt>
                <c:pt idx="28">
                  <c:v>5.1543640084225503E-2</c:v>
                </c:pt>
                <c:pt idx="29">
                  <c:v>3.57068714967822E-2</c:v>
                </c:pt>
                <c:pt idx="30">
                  <c:v>6.3702956789940396E-2</c:v>
                </c:pt>
                <c:pt idx="31">
                  <c:v>4.8607609952845597E-2</c:v>
                </c:pt>
                <c:pt idx="32">
                  <c:v>6.0796583528574401E-2</c:v>
                </c:pt>
                <c:pt idx="33">
                  <c:v>3.9265695898454897E-2</c:v>
                </c:pt>
                <c:pt idx="34">
                  <c:v>4.1134078709333E-2</c:v>
                </c:pt>
                <c:pt idx="35">
                  <c:v>2.7699516593018801E-2</c:v>
                </c:pt>
                <c:pt idx="36">
                  <c:v>2.10267208398826E-2</c:v>
                </c:pt>
                <c:pt idx="37">
                  <c:v>2.2865446780746802E-2</c:v>
                </c:pt>
                <c:pt idx="38">
                  <c:v>1.18924048755894E-2</c:v>
                </c:pt>
                <c:pt idx="39">
                  <c:v>2.1649515110175301E-2</c:v>
                </c:pt>
                <c:pt idx="40">
                  <c:v>1.8120347578516601E-2</c:v>
                </c:pt>
                <c:pt idx="41">
                  <c:v>1.1447551825380301E-2</c:v>
                </c:pt>
                <c:pt idx="42">
                  <c:v>9.2826003143628207E-3</c:v>
                </c:pt>
                <c:pt idx="43">
                  <c:v>1.6162994157596599E-2</c:v>
                </c:pt>
                <c:pt idx="44">
                  <c:v>3.4787508526350097E-2</c:v>
                </c:pt>
                <c:pt idx="45">
                  <c:v>4.0956137489249402E-2</c:v>
                </c:pt>
                <c:pt idx="46">
                  <c:v>2.5593878822029101E-2</c:v>
                </c:pt>
                <c:pt idx="47">
                  <c:v>2.1115691449924399E-2</c:v>
                </c:pt>
                <c:pt idx="48">
                  <c:v>1.90397105489487E-2</c:v>
                </c:pt>
                <c:pt idx="49">
                  <c:v>1.3315934636258501E-2</c:v>
                </c:pt>
                <c:pt idx="50">
                  <c:v>1.1833091135561601E-2</c:v>
                </c:pt>
                <c:pt idx="51">
                  <c:v>1.5154660577122701E-2</c:v>
                </c:pt>
                <c:pt idx="52">
                  <c:v>1.6845102167917202E-2</c:v>
                </c:pt>
                <c:pt idx="53">
                  <c:v>1.2732682859317701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4B6-4B2F-8B1E-AD7665E455E5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0.12108900026691199</c:v>
                </c:pt>
                <c:pt idx="1">
                  <c:v>0.11403066520359401</c:v>
                </c:pt>
                <c:pt idx="2">
                  <c:v>0.119813754856312</c:v>
                </c:pt>
                <c:pt idx="3">
                  <c:v>0.10187134849788</c:v>
                </c:pt>
                <c:pt idx="4">
                  <c:v>0.118419881965657</c:v>
                </c:pt>
                <c:pt idx="5">
                  <c:v>0.109878703401643</c:v>
                </c:pt>
                <c:pt idx="6">
                  <c:v>0.109908360271657</c:v>
                </c:pt>
                <c:pt idx="7">
                  <c:v>0.118568166315727</c:v>
                </c:pt>
                <c:pt idx="8">
                  <c:v>0.110264242711824</c:v>
                </c:pt>
                <c:pt idx="9">
                  <c:v>0.109967674011685</c:v>
                </c:pt>
                <c:pt idx="10">
                  <c:v>0.109344879741392</c:v>
                </c:pt>
                <c:pt idx="11">
                  <c:v>0.106794388920193</c:v>
                </c:pt>
                <c:pt idx="12">
                  <c:v>0.10869242860108499</c:v>
                </c:pt>
                <c:pt idx="13">
                  <c:v>0.11497968504404001</c:v>
                </c:pt>
                <c:pt idx="14">
                  <c:v>0.127465227319909</c:v>
                </c:pt>
                <c:pt idx="15">
                  <c:v>0.13164684599187401</c:v>
                </c:pt>
                <c:pt idx="16">
                  <c:v>0.13398973872297501</c:v>
                </c:pt>
                <c:pt idx="17">
                  <c:v>0.123758118568166</c:v>
                </c:pt>
                <c:pt idx="18">
                  <c:v>0.130519884931344</c:v>
                </c:pt>
                <c:pt idx="19">
                  <c:v>0.13499807230344901</c:v>
                </c:pt>
                <c:pt idx="20">
                  <c:v>0.138853465405261</c:v>
                </c:pt>
                <c:pt idx="21">
                  <c:v>0.138556896705122</c:v>
                </c:pt>
                <c:pt idx="22">
                  <c:v>0.13582846466383899</c:v>
                </c:pt>
                <c:pt idx="23">
                  <c:v>0.16382454995699799</c:v>
                </c:pt>
                <c:pt idx="24">
                  <c:v>0.18313117233607201</c:v>
                </c:pt>
                <c:pt idx="25">
                  <c:v>0.19493460660161899</c:v>
                </c:pt>
                <c:pt idx="26">
                  <c:v>0.29731012188973599</c:v>
                </c:pt>
                <c:pt idx="27">
                  <c:v>0.29819982799015399</c:v>
                </c:pt>
                <c:pt idx="28">
                  <c:v>0.30552507488359698</c:v>
                </c:pt>
                <c:pt idx="29">
                  <c:v>0.31460007710786198</c:v>
                </c:pt>
                <c:pt idx="30">
                  <c:v>0.30792728135472602</c:v>
                </c:pt>
                <c:pt idx="31">
                  <c:v>0.30430914321302499</c:v>
                </c:pt>
                <c:pt idx="32">
                  <c:v>0.289984874996293</c:v>
                </c:pt>
                <c:pt idx="33">
                  <c:v>0.30137311308164499</c:v>
                </c:pt>
                <c:pt idx="34">
                  <c:v>0.307156202734363</c:v>
                </c:pt>
                <c:pt idx="35">
                  <c:v>0.29126012040689198</c:v>
                </c:pt>
                <c:pt idx="36">
                  <c:v>0.314155224057653</c:v>
                </c:pt>
                <c:pt idx="37">
                  <c:v>0.30766036952460002</c:v>
                </c:pt>
                <c:pt idx="38">
                  <c:v>0.36566920727186503</c:v>
                </c:pt>
                <c:pt idx="39">
                  <c:v>0.34342655476140999</c:v>
                </c:pt>
                <c:pt idx="40">
                  <c:v>0.33319493460660199</c:v>
                </c:pt>
                <c:pt idx="41">
                  <c:v>0.34710400664313901</c:v>
                </c:pt>
                <c:pt idx="42">
                  <c:v>0.34778611465345899</c:v>
                </c:pt>
                <c:pt idx="43">
                  <c:v>0.31632017556866998</c:v>
                </c:pt>
                <c:pt idx="44">
                  <c:v>0.31940449005012</c:v>
                </c:pt>
                <c:pt idx="45">
                  <c:v>0.34135057386043499</c:v>
                </c:pt>
                <c:pt idx="46">
                  <c:v>0.31261306681692802</c:v>
                </c:pt>
                <c:pt idx="47">
                  <c:v>0.30371600581274699</c:v>
                </c:pt>
                <c:pt idx="48">
                  <c:v>0.29852605356030698</c:v>
                </c:pt>
                <c:pt idx="49">
                  <c:v>0.27079688009727498</c:v>
                </c:pt>
                <c:pt idx="50">
                  <c:v>0.30152139743171502</c:v>
                </c:pt>
                <c:pt idx="51">
                  <c:v>0.31101159583617499</c:v>
                </c:pt>
                <c:pt idx="52">
                  <c:v>0.292891248257659</c:v>
                </c:pt>
                <c:pt idx="53">
                  <c:v>0.25527645145664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4B6-4B2F-8B1E-AD7665E455E5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0.13203238530205499</c:v>
                </c:pt>
                <c:pt idx="1">
                  <c:v>0.12358017734808301</c:v>
                </c:pt>
                <c:pt idx="2">
                  <c:v>0.12773213915003401</c:v>
                </c:pt>
                <c:pt idx="3">
                  <c:v>0.10658679083009601</c:v>
                </c:pt>
                <c:pt idx="4">
                  <c:v>0.12343189299801299</c:v>
                </c:pt>
                <c:pt idx="5">
                  <c:v>0.11927993119606201</c:v>
                </c:pt>
                <c:pt idx="6">
                  <c:v>0.11678875411489099</c:v>
                </c:pt>
                <c:pt idx="7">
                  <c:v>0.124143657878348</c:v>
                </c:pt>
                <c:pt idx="8">
                  <c:v>0.11527625374418</c:v>
                </c:pt>
                <c:pt idx="9">
                  <c:v>0.113674782763427</c:v>
                </c:pt>
                <c:pt idx="10">
                  <c:v>0.11314095910317599</c:v>
                </c:pt>
                <c:pt idx="11">
                  <c:v>0.11257747857291101</c:v>
                </c:pt>
                <c:pt idx="12">
                  <c:v>0.11257747857291101</c:v>
                </c:pt>
                <c:pt idx="13">
                  <c:v>0.12002135294641</c:v>
                </c:pt>
                <c:pt idx="14">
                  <c:v>0.13221032652213899</c:v>
                </c:pt>
                <c:pt idx="15">
                  <c:v>0.136985082594383</c:v>
                </c:pt>
                <c:pt idx="16">
                  <c:v>0.139743171505679</c:v>
                </c:pt>
                <c:pt idx="17">
                  <c:v>0.13645125893413201</c:v>
                </c:pt>
                <c:pt idx="18">
                  <c:v>0.14181915240665499</c:v>
                </c:pt>
                <c:pt idx="19">
                  <c:v>0.14502209436815999</c:v>
                </c:pt>
                <c:pt idx="20">
                  <c:v>0.14866988937987499</c:v>
                </c:pt>
                <c:pt idx="21">
                  <c:v>0.14632699664877399</c:v>
                </c:pt>
                <c:pt idx="22">
                  <c:v>0.14451792757792301</c:v>
                </c:pt>
                <c:pt idx="23">
                  <c:v>0.17405617011180599</c:v>
                </c:pt>
                <c:pt idx="24">
                  <c:v>0.20676769773718101</c:v>
                </c:pt>
                <c:pt idx="25">
                  <c:v>0.23589074409086899</c:v>
                </c:pt>
                <c:pt idx="26">
                  <c:v>0.64115187283134101</c:v>
                </c:pt>
                <c:pt idx="27">
                  <c:v>0.46475280998843399</c:v>
                </c:pt>
                <c:pt idx="28">
                  <c:v>0.357068714967822</c:v>
                </c:pt>
                <c:pt idx="29">
                  <c:v>0.35030694860464401</c:v>
                </c:pt>
                <c:pt idx="30">
                  <c:v>0.371630238144666</c:v>
                </c:pt>
                <c:pt idx="31">
                  <c:v>0.35291675316587101</c:v>
                </c:pt>
                <c:pt idx="32">
                  <c:v>0.35078145852486697</c:v>
                </c:pt>
                <c:pt idx="33">
                  <c:v>0.34063880898010002</c:v>
                </c:pt>
                <c:pt idx="34">
                  <c:v>0.348290281443696</c:v>
                </c:pt>
                <c:pt idx="35">
                  <c:v>0.31895963699991098</c:v>
                </c:pt>
                <c:pt idx="36">
                  <c:v>0.335181944897535</c:v>
                </c:pt>
                <c:pt idx="37">
                  <c:v>0.330525816305347</c:v>
                </c:pt>
                <c:pt idx="38">
                  <c:v>0.37756161214745398</c:v>
                </c:pt>
                <c:pt idx="39">
                  <c:v>0.36507606987158597</c:v>
                </c:pt>
                <c:pt idx="40">
                  <c:v>0.35131528218511798</c:v>
                </c:pt>
                <c:pt idx="41">
                  <c:v>0.35855155846851899</c:v>
                </c:pt>
                <c:pt idx="42">
                  <c:v>0.357068714967822</c:v>
                </c:pt>
                <c:pt idx="43">
                  <c:v>0.33248316972626701</c:v>
                </c:pt>
                <c:pt idx="44">
                  <c:v>0.35419199857646999</c:v>
                </c:pt>
                <c:pt idx="45">
                  <c:v>0.38230671134968403</c:v>
                </c:pt>
                <c:pt idx="46">
                  <c:v>0.33820694563895698</c:v>
                </c:pt>
                <c:pt idx="47">
                  <c:v>0.32483169726267103</c:v>
                </c:pt>
                <c:pt idx="48">
                  <c:v>0.31756576410925602</c:v>
                </c:pt>
                <c:pt idx="49">
                  <c:v>0.284112814733533</c:v>
                </c:pt>
                <c:pt idx="50">
                  <c:v>0.31335448856727699</c:v>
                </c:pt>
                <c:pt idx="51">
                  <c:v>0.32616625641329799</c:v>
                </c:pt>
                <c:pt idx="52">
                  <c:v>0.30973635042557601</c:v>
                </c:pt>
                <c:pt idx="53">
                  <c:v>0.268009134315964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4B6-4B2F-8B1E-AD7665E455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7000000000000000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12080536912751E-2"/>
          <c:y val="5.7522123893805309E-2"/>
          <c:w val="0.9563758389261745"/>
          <c:h val="0.88495575221238942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14754754754754801</c:v>
                </c:pt>
                <c:pt idx="1">
                  <c:v>0.19997139997140001</c:v>
                </c:pt>
                <c:pt idx="2">
                  <c:v>0.188960388960389</c:v>
                </c:pt>
                <c:pt idx="3">
                  <c:v>0.14300014300014299</c:v>
                </c:pt>
                <c:pt idx="4">
                  <c:v>0.13888173888173899</c:v>
                </c:pt>
                <c:pt idx="5">
                  <c:v>0.24661804661804701</c:v>
                </c:pt>
                <c:pt idx="6">
                  <c:v>0.169369369369369</c:v>
                </c:pt>
                <c:pt idx="7">
                  <c:v>0.141570141570142</c:v>
                </c:pt>
                <c:pt idx="8">
                  <c:v>0.14854854854854899</c:v>
                </c:pt>
                <c:pt idx="9">
                  <c:v>0.10785070785070799</c:v>
                </c:pt>
                <c:pt idx="10">
                  <c:v>0.11480051480051499</c:v>
                </c:pt>
                <c:pt idx="11">
                  <c:v>0.14666094666094701</c:v>
                </c:pt>
                <c:pt idx="12">
                  <c:v>0.118775918775919</c:v>
                </c:pt>
                <c:pt idx="13">
                  <c:v>0.13115973115973101</c:v>
                </c:pt>
                <c:pt idx="14">
                  <c:v>0.171914771914772</c:v>
                </c:pt>
                <c:pt idx="15">
                  <c:v>0.15824395824395801</c:v>
                </c:pt>
                <c:pt idx="16">
                  <c:v>0.14460174460174499</c:v>
                </c:pt>
                <c:pt idx="17">
                  <c:v>0.22468182468182499</c:v>
                </c:pt>
                <c:pt idx="18">
                  <c:v>0.22694122694122701</c:v>
                </c:pt>
                <c:pt idx="19">
                  <c:v>0.20820820820820801</c:v>
                </c:pt>
                <c:pt idx="20">
                  <c:v>0.19379379379379399</c:v>
                </c:pt>
                <c:pt idx="21">
                  <c:v>0.158758758758759</c:v>
                </c:pt>
                <c:pt idx="22">
                  <c:v>0.15012155012155001</c:v>
                </c:pt>
                <c:pt idx="23">
                  <c:v>0.19991419991420001</c:v>
                </c:pt>
                <c:pt idx="24">
                  <c:v>0.25019305019304999</c:v>
                </c:pt>
                <c:pt idx="25">
                  <c:v>0.34763334763334802</c:v>
                </c:pt>
                <c:pt idx="26">
                  <c:v>1.1160017160017199</c:v>
                </c:pt>
                <c:pt idx="27">
                  <c:v>0.63274703274703303</c:v>
                </c:pt>
                <c:pt idx="28">
                  <c:v>0.27398827398827402</c:v>
                </c:pt>
                <c:pt idx="29">
                  <c:v>0.213613613613614</c:v>
                </c:pt>
                <c:pt idx="30">
                  <c:v>0.27736307736307703</c:v>
                </c:pt>
                <c:pt idx="31">
                  <c:v>0.204604604604605</c:v>
                </c:pt>
                <c:pt idx="32">
                  <c:v>0.25599885599885602</c:v>
                </c:pt>
                <c:pt idx="33">
                  <c:v>0.16487916487916501</c:v>
                </c:pt>
                <c:pt idx="34">
                  <c:v>0.136793936793937</c:v>
                </c:pt>
                <c:pt idx="35">
                  <c:v>9.3607893607893594E-2</c:v>
                </c:pt>
                <c:pt idx="36">
                  <c:v>7.9050479050479003E-2</c:v>
                </c:pt>
                <c:pt idx="37">
                  <c:v>8.8088088088088101E-2</c:v>
                </c:pt>
                <c:pt idx="38">
                  <c:v>4.8591448591448601E-2</c:v>
                </c:pt>
                <c:pt idx="39">
                  <c:v>6.4521664521664496E-2</c:v>
                </c:pt>
                <c:pt idx="40">
                  <c:v>6.2634062634062598E-2</c:v>
                </c:pt>
                <c:pt idx="41">
                  <c:v>6.3663663663663703E-2</c:v>
                </c:pt>
                <c:pt idx="42">
                  <c:v>5.3253253253253301E-2</c:v>
                </c:pt>
                <c:pt idx="43">
                  <c:v>5.4654654654654702E-2</c:v>
                </c:pt>
                <c:pt idx="44">
                  <c:v>6.53796653796654E-2</c:v>
                </c:pt>
                <c:pt idx="45">
                  <c:v>0.115029315029315</c:v>
                </c:pt>
                <c:pt idx="46">
                  <c:v>7.5446875446875394E-2</c:v>
                </c:pt>
                <c:pt idx="47">
                  <c:v>4.73044473044473E-2</c:v>
                </c:pt>
                <c:pt idx="48">
                  <c:v>4.14414414414414E-2</c:v>
                </c:pt>
                <c:pt idx="49">
                  <c:v>4.1012441012441003E-2</c:v>
                </c:pt>
                <c:pt idx="50">
                  <c:v>3.82954382954383E-2</c:v>
                </c:pt>
                <c:pt idx="51">
                  <c:v>3.7866437866437903E-2</c:v>
                </c:pt>
                <c:pt idx="52">
                  <c:v>4.7762047762047802E-2</c:v>
                </c:pt>
                <c:pt idx="53">
                  <c:v>3.9239239239239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253-42B7-9E9F-14E20A19512A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3.0035464035463999</c:v>
                </c:pt>
                <c:pt idx="1">
                  <c:v>3.14829114829115</c:v>
                </c:pt>
                <c:pt idx="2">
                  <c:v>3.2366080366080401</c:v>
                </c:pt>
                <c:pt idx="3">
                  <c:v>3.22519662519663</c:v>
                </c:pt>
                <c:pt idx="4">
                  <c:v>3.2621192621192598</c:v>
                </c:pt>
                <c:pt idx="5">
                  <c:v>3.2196482196482199</c:v>
                </c:pt>
                <c:pt idx="6">
                  <c:v>3.21904761904762</c:v>
                </c:pt>
                <c:pt idx="7">
                  <c:v>3.3132561132561098</c:v>
                </c:pt>
                <c:pt idx="8">
                  <c:v>3.3361361361361399</c:v>
                </c:pt>
                <c:pt idx="9">
                  <c:v>3.32686972686973</c:v>
                </c:pt>
                <c:pt idx="10">
                  <c:v>3.24970684970685</c:v>
                </c:pt>
                <c:pt idx="11">
                  <c:v>3.2561704561704601</c:v>
                </c:pt>
                <c:pt idx="12">
                  <c:v>3.3239525239525198</c:v>
                </c:pt>
                <c:pt idx="13">
                  <c:v>3.4040612040611999</c:v>
                </c:pt>
                <c:pt idx="14">
                  <c:v>3.79502359502359</c:v>
                </c:pt>
                <c:pt idx="15">
                  <c:v>3.3765479765479798</c:v>
                </c:pt>
                <c:pt idx="16">
                  <c:v>3.50833690833691</c:v>
                </c:pt>
                <c:pt idx="17">
                  <c:v>3.23174603174603</c:v>
                </c:pt>
                <c:pt idx="18">
                  <c:v>3.4116688116688101</c:v>
                </c:pt>
                <c:pt idx="19">
                  <c:v>3.5648219648219599</c:v>
                </c:pt>
                <c:pt idx="20">
                  <c:v>3.5882453882453902</c:v>
                </c:pt>
                <c:pt idx="21">
                  <c:v>3.24724724724725</c:v>
                </c:pt>
                <c:pt idx="22">
                  <c:v>3.28906048906049</c:v>
                </c:pt>
                <c:pt idx="23">
                  <c:v>3.7549549549549499</c:v>
                </c:pt>
                <c:pt idx="24">
                  <c:v>3.6830544830544798</c:v>
                </c:pt>
                <c:pt idx="25">
                  <c:v>3.5272701272701301</c:v>
                </c:pt>
                <c:pt idx="26">
                  <c:v>3.3182897182897202</c:v>
                </c:pt>
                <c:pt idx="27">
                  <c:v>3.1386529386529398</c:v>
                </c:pt>
                <c:pt idx="28">
                  <c:v>3.2635778635778601</c:v>
                </c:pt>
                <c:pt idx="29">
                  <c:v>3.2893750893750902</c:v>
                </c:pt>
                <c:pt idx="30">
                  <c:v>3.1583583583583601</c:v>
                </c:pt>
                <c:pt idx="31">
                  <c:v>3.1079937079937099</c:v>
                </c:pt>
                <c:pt idx="32">
                  <c:v>3.0001144001143998</c:v>
                </c:pt>
                <c:pt idx="33">
                  <c:v>3.0117260117260098</c:v>
                </c:pt>
                <c:pt idx="34">
                  <c:v>2.9066495066495102</c:v>
                </c:pt>
                <c:pt idx="35">
                  <c:v>2.71731731731732</c:v>
                </c:pt>
                <c:pt idx="36">
                  <c:v>2.9439153439153398</c:v>
                </c:pt>
                <c:pt idx="37">
                  <c:v>2.8680680680680699</c:v>
                </c:pt>
                <c:pt idx="38">
                  <c:v>2.97200057200057</c:v>
                </c:pt>
                <c:pt idx="39">
                  <c:v>2.88102388102388</c:v>
                </c:pt>
                <c:pt idx="40">
                  <c:v>2.9205777205777199</c:v>
                </c:pt>
                <c:pt idx="41">
                  <c:v>3.1370513370513402</c:v>
                </c:pt>
                <c:pt idx="42">
                  <c:v>3.1253253253253299</c:v>
                </c:pt>
                <c:pt idx="43">
                  <c:v>2.78009438009438</c:v>
                </c:pt>
                <c:pt idx="44">
                  <c:v>2.7972829972829998</c:v>
                </c:pt>
                <c:pt idx="45">
                  <c:v>2.9365079365079398</c:v>
                </c:pt>
                <c:pt idx="46">
                  <c:v>2.9377949377949402</c:v>
                </c:pt>
                <c:pt idx="47">
                  <c:v>2.7823823823823801</c:v>
                </c:pt>
                <c:pt idx="48">
                  <c:v>2.79482339482339</c:v>
                </c:pt>
                <c:pt idx="49">
                  <c:v>2.4790504790504801</c:v>
                </c:pt>
                <c:pt idx="50">
                  <c:v>2.6840840840840801</c:v>
                </c:pt>
                <c:pt idx="51">
                  <c:v>2.6223652223652199</c:v>
                </c:pt>
                <c:pt idx="52">
                  <c:v>2.5810095810095799</c:v>
                </c:pt>
                <c:pt idx="53">
                  <c:v>2.62822822822823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253-42B7-9E9F-14E20A19512A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3.1510939510939502</c:v>
                </c:pt>
                <c:pt idx="1">
                  <c:v>3.3482625482625501</c:v>
                </c:pt>
                <c:pt idx="2">
                  <c:v>3.42556842556843</c:v>
                </c:pt>
                <c:pt idx="3">
                  <c:v>3.3681967681967699</c:v>
                </c:pt>
                <c:pt idx="4">
                  <c:v>3.4010010010010001</c:v>
                </c:pt>
                <c:pt idx="5">
                  <c:v>3.46626626626627</c:v>
                </c:pt>
                <c:pt idx="6">
                  <c:v>3.3884169884169899</c:v>
                </c:pt>
                <c:pt idx="7">
                  <c:v>3.4548262548262501</c:v>
                </c:pt>
                <c:pt idx="8">
                  <c:v>3.4846846846846802</c:v>
                </c:pt>
                <c:pt idx="9">
                  <c:v>3.4347204347204299</c:v>
                </c:pt>
                <c:pt idx="10">
                  <c:v>3.36450736450736</c:v>
                </c:pt>
                <c:pt idx="11">
                  <c:v>3.4028314028314002</c:v>
                </c:pt>
                <c:pt idx="12">
                  <c:v>3.4427284427284399</c:v>
                </c:pt>
                <c:pt idx="13">
                  <c:v>3.5352209352209401</c:v>
                </c:pt>
                <c:pt idx="14">
                  <c:v>3.9669383669383702</c:v>
                </c:pt>
                <c:pt idx="15">
                  <c:v>3.5347919347919299</c:v>
                </c:pt>
                <c:pt idx="16">
                  <c:v>3.6529386529386501</c:v>
                </c:pt>
                <c:pt idx="17">
                  <c:v>3.4564278564278599</c:v>
                </c:pt>
                <c:pt idx="18">
                  <c:v>3.63861003861004</c:v>
                </c:pt>
                <c:pt idx="19">
                  <c:v>3.7730301730301701</c:v>
                </c:pt>
                <c:pt idx="20">
                  <c:v>3.7820391820391799</c:v>
                </c:pt>
                <c:pt idx="21">
                  <c:v>3.40600600600601</c:v>
                </c:pt>
                <c:pt idx="22">
                  <c:v>3.43918203918204</c:v>
                </c:pt>
                <c:pt idx="23">
                  <c:v>3.9548691548691499</c:v>
                </c:pt>
                <c:pt idx="24">
                  <c:v>3.9332475332475298</c:v>
                </c:pt>
                <c:pt idx="25">
                  <c:v>3.8749034749034701</c:v>
                </c:pt>
                <c:pt idx="26">
                  <c:v>4.4342914342914304</c:v>
                </c:pt>
                <c:pt idx="27">
                  <c:v>3.77139997139997</c:v>
                </c:pt>
                <c:pt idx="28">
                  <c:v>3.5375661375661398</c:v>
                </c:pt>
                <c:pt idx="29">
                  <c:v>3.5029887029886999</c:v>
                </c:pt>
                <c:pt idx="30">
                  <c:v>3.4357214357214398</c:v>
                </c:pt>
                <c:pt idx="31">
                  <c:v>3.3125983125983098</c:v>
                </c:pt>
                <c:pt idx="32">
                  <c:v>3.25611325611326</c:v>
                </c:pt>
                <c:pt idx="33">
                  <c:v>3.1766051766051802</c:v>
                </c:pt>
                <c:pt idx="34">
                  <c:v>3.0434434434434401</c:v>
                </c:pt>
                <c:pt idx="35">
                  <c:v>2.8109252109252099</c:v>
                </c:pt>
                <c:pt idx="36">
                  <c:v>3.0229658229658201</c:v>
                </c:pt>
                <c:pt idx="37">
                  <c:v>2.95615615615616</c:v>
                </c:pt>
                <c:pt idx="38">
                  <c:v>3.0205920205920198</c:v>
                </c:pt>
                <c:pt idx="39">
                  <c:v>2.9455455455455501</c:v>
                </c:pt>
                <c:pt idx="40">
                  <c:v>2.9832117832117802</c:v>
                </c:pt>
                <c:pt idx="41">
                  <c:v>3.2007150007149998</c:v>
                </c:pt>
                <c:pt idx="42">
                  <c:v>3.1785785785785801</c:v>
                </c:pt>
                <c:pt idx="43">
                  <c:v>2.8347490347490298</c:v>
                </c:pt>
                <c:pt idx="44">
                  <c:v>2.8626626626626601</c:v>
                </c:pt>
                <c:pt idx="45">
                  <c:v>3.0515372515372499</c:v>
                </c:pt>
                <c:pt idx="46">
                  <c:v>3.0132418132418102</c:v>
                </c:pt>
                <c:pt idx="47">
                  <c:v>2.8296868296868301</c:v>
                </c:pt>
                <c:pt idx="48">
                  <c:v>2.8362648362648399</c:v>
                </c:pt>
                <c:pt idx="49">
                  <c:v>2.5200629200629199</c:v>
                </c:pt>
                <c:pt idx="50">
                  <c:v>2.7223795223795202</c:v>
                </c:pt>
                <c:pt idx="51">
                  <c:v>2.66023166023166</c:v>
                </c:pt>
                <c:pt idx="52">
                  <c:v>2.6287716287716298</c:v>
                </c:pt>
                <c:pt idx="53">
                  <c:v>2.66746746746746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7253-42B7-9E9F-14E20A1951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6248273139925E-2"/>
          <c:y val="2.6289180990899899E-2"/>
          <c:w val="0.97947503453720153"/>
          <c:h val="0.94742163801820023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8AD5-4723-870C-A8F4231F17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8AD5-4723-870C-A8F4231F17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AD5-4723-870C-A8F4231F17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8AD5-4723-870C-A8F4231F17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8AD5-4723-870C-A8F4231F17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8AD5-4723-870C-A8F4231F17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8AD5-4723-870C-A8F4231F17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8AD5-4723-870C-A8F4231F17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AD5-4723-870C-A8F4231F17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8AD5-4723-870C-A8F4231F17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8AD5-4723-870C-A8F4231F17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8AD5-4723-870C-A8F4231F17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8AD5-4723-870C-A8F4231F17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8AD5-4723-870C-A8F4231F17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8AD5-4723-870C-A8F4231F17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8AD5-4723-870C-A8F4231F17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8AD5-4723-870C-A8F4231F17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8AD5-4723-870C-A8F4231F17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8AD5-4723-870C-A8F4231F17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8AD5-4723-870C-A8F4231F17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8AD5-4723-870C-A8F4231F17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8AD5-4723-870C-A8F4231F17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8AD5-4723-870C-A8F4231F17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8AD5-4723-870C-A8F4231F17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8AD5-4723-870C-A8F4231F17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8AD5-4723-870C-A8F4231F17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8AD5-4723-870C-A8F4231F173C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8AD5-4723-870C-A8F4231F173C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8AD5-4723-870C-A8F4231F173C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8AD5-4723-870C-A8F4231F173C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8AD5-4723-870C-A8F4231F173C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8AD5-4723-870C-A8F4231F173C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8AD5-4723-870C-A8F4231F173C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8AD5-4723-870C-A8F4231F173C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8AD5-4723-870C-A8F4231F173C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8AD5-4723-870C-A8F4231F173C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8AD5-4723-870C-A8F4231F173C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8AD5-4723-870C-A8F4231F173C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8AD5-4723-870C-A8F4231F173C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8AD5-4723-870C-A8F4231F173C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8AD5-4723-870C-A8F4231F173C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8AD5-4723-870C-A8F4231F173C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8AD5-4723-870C-A8F4231F173C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8AD5-4723-870C-A8F4231F173C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8AD5-4723-870C-A8F4231F173C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8AD5-4723-870C-A8F4231F173C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8AD5-4723-870C-A8F4231F173C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8AD5-4723-870C-A8F4231F173C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8AD5-4723-870C-A8F4231F173C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8AD5-4723-870C-A8F4231F173C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8AD5-4723-870C-A8F4231F173C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8AD5-4723-870C-A8F4231F173C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8AD5-4723-870C-A8F4231F173C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8AD5-4723-870C-A8F4231F173C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.7094017094017101E-3</c:v>
                </c:pt>
                <c:pt idx="1">
                  <c:v>1.79080179080179E-3</c:v>
                </c:pt>
                <c:pt idx="2">
                  <c:v>1.6280016280016301E-3</c:v>
                </c:pt>
                <c:pt idx="3">
                  <c:v>1.03106769773436E-3</c:v>
                </c:pt>
                <c:pt idx="4">
                  <c:v>1.68226834893502E-3</c:v>
                </c:pt>
                <c:pt idx="5">
                  <c:v>2.2249355582688898E-3</c:v>
                </c:pt>
                <c:pt idx="6">
                  <c:v>1.35666802333469E-3</c:v>
                </c:pt>
                <c:pt idx="7">
                  <c:v>1.2210012210012199E-3</c:v>
                </c:pt>
                <c:pt idx="8">
                  <c:v>1.57373490706824E-3</c:v>
                </c:pt>
                <c:pt idx="9">
                  <c:v>7.8686745353412E-4</c:v>
                </c:pt>
                <c:pt idx="10">
                  <c:v>8.1400081400081396E-4</c:v>
                </c:pt>
                <c:pt idx="11">
                  <c:v>1.3295346628679999E-3</c:v>
                </c:pt>
                <c:pt idx="12">
                  <c:v>1.16673450006783E-3</c:v>
                </c:pt>
                <c:pt idx="13">
                  <c:v>1.1938678605345301E-3</c:v>
                </c:pt>
                <c:pt idx="14">
                  <c:v>1.05820105820106E-3</c:v>
                </c:pt>
                <c:pt idx="15">
                  <c:v>9.7680097680097702E-4</c:v>
                </c:pt>
                <c:pt idx="16">
                  <c:v>7.5973409306742603E-4</c:v>
                </c:pt>
                <c:pt idx="17">
                  <c:v>3.3102699769366399E-3</c:v>
                </c:pt>
                <c:pt idx="18">
                  <c:v>2.4962691629358299E-3</c:v>
                </c:pt>
                <c:pt idx="19">
                  <c:v>2.9575362908696198E-3</c:v>
                </c:pt>
                <c:pt idx="20">
                  <c:v>1.7094017094017101E-3</c:v>
                </c:pt>
                <c:pt idx="21">
                  <c:v>2.3606023606023599E-3</c:v>
                </c:pt>
                <c:pt idx="22">
                  <c:v>2.1978021978022E-3</c:v>
                </c:pt>
                <c:pt idx="23">
                  <c:v>1.7365350698683999E-3</c:v>
                </c:pt>
                <c:pt idx="24">
                  <c:v>5.1553384886718198E-3</c:v>
                </c:pt>
                <c:pt idx="25">
                  <c:v>1.09618776285443E-2</c:v>
                </c:pt>
                <c:pt idx="26">
                  <c:v>0.204422737756071</c:v>
                </c:pt>
                <c:pt idx="27">
                  <c:v>0.15826889160222499</c:v>
                </c:pt>
                <c:pt idx="28">
                  <c:v>3.8854972188305498E-2</c:v>
                </c:pt>
                <c:pt idx="29">
                  <c:v>4.0645773979107298E-2</c:v>
                </c:pt>
                <c:pt idx="30">
                  <c:v>8.0450413783747093E-2</c:v>
                </c:pt>
                <c:pt idx="31">
                  <c:v>5.3534120200786899E-2</c:v>
                </c:pt>
                <c:pt idx="32">
                  <c:v>4.9599782933116301E-2</c:v>
                </c:pt>
                <c:pt idx="33">
                  <c:v>3.1610364943698302E-2</c:v>
                </c:pt>
                <c:pt idx="34">
                  <c:v>4.1975308641975302E-2</c:v>
                </c:pt>
                <c:pt idx="35">
                  <c:v>2.36874236874237E-2</c:v>
                </c:pt>
                <c:pt idx="36">
                  <c:v>2.75674942341609E-2</c:v>
                </c:pt>
                <c:pt idx="37">
                  <c:v>2.6075159408492699E-2</c:v>
                </c:pt>
                <c:pt idx="38">
                  <c:v>1.1504544837878199E-2</c:v>
                </c:pt>
                <c:pt idx="39">
                  <c:v>1.8776285442952099E-2</c:v>
                </c:pt>
                <c:pt idx="40">
                  <c:v>1.3186813186813201E-2</c:v>
                </c:pt>
                <c:pt idx="41">
                  <c:v>1.11246777913445E-2</c:v>
                </c:pt>
                <c:pt idx="42">
                  <c:v>1.27255460588794E-2</c:v>
                </c:pt>
                <c:pt idx="43">
                  <c:v>1.5818749152082499E-2</c:v>
                </c:pt>
                <c:pt idx="44">
                  <c:v>3.3401166734500103E-2</c:v>
                </c:pt>
                <c:pt idx="45">
                  <c:v>3.2967032967033003E-2</c:v>
                </c:pt>
                <c:pt idx="46">
                  <c:v>1.5574548907882201E-2</c:v>
                </c:pt>
                <c:pt idx="47">
                  <c:v>1.02564102564103E-2</c:v>
                </c:pt>
                <c:pt idx="48">
                  <c:v>1.31054131054131E-2</c:v>
                </c:pt>
                <c:pt idx="49">
                  <c:v>1.00936100936101E-2</c:v>
                </c:pt>
                <c:pt idx="50">
                  <c:v>1.1694478361145001E-2</c:v>
                </c:pt>
                <c:pt idx="51">
                  <c:v>8.9811423144756496E-3</c:v>
                </c:pt>
                <c:pt idx="52">
                  <c:v>8.0857414190747493E-3</c:v>
                </c:pt>
                <c:pt idx="53">
                  <c:v>5.2548274770497002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8AD5-4723-870C-A8F4231F173C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8AD5-4723-870C-A8F4231F17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8AD5-4723-870C-A8F4231F17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8AD5-4723-870C-A8F4231F17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8AD5-4723-870C-A8F4231F17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8AD5-4723-870C-A8F4231F17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8AD5-4723-870C-A8F4231F17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8AD5-4723-870C-A8F4231F17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8AD5-4723-870C-A8F4231F17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8AD5-4723-870C-A8F4231F17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8AD5-4723-870C-A8F4231F17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8AD5-4723-870C-A8F4231F17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8AD5-4723-870C-A8F4231F17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8AD5-4723-870C-A8F4231F17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8AD5-4723-870C-A8F4231F17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8AD5-4723-870C-A8F4231F17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8AD5-4723-870C-A8F4231F17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7-8AD5-4723-870C-A8F4231F17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8-8AD5-4723-870C-A8F4231F17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9-8AD5-4723-870C-A8F4231F17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A-8AD5-4723-870C-A8F4231F17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B-8AD5-4723-870C-A8F4231F17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C-8AD5-4723-870C-A8F4231F17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D-8AD5-4723-870C-A8F4231F17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E-8AD5-4723-870C-A8F4231F17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F-8AD5-4723-870C-A8F4231F17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0-8AD5-4723-870C-A8F4231F17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1-8AD5-4723-870C-A8F4231F173C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2-8AD5-4723-870C-A8F4231F173C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3-8AD5-4723-870C-A8F4231F173C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4-8AD5-4723-870C-A8F4231F173C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5-8AD5-4723-870C-A8F4231F173C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6-8AD5-4723-870C-A8F4231F173C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7-8AD5-4723-870C-A8F4231F173C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8-8AD5-4723-870C-A8F4231F173C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9-8AD5-4723-870C-A8F4231F173C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A-8AD5-4723-870C-A8F4231F173C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B-8AD5-4723-870C-A8F4231F173C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C-8AD5-4723-870C-A8F4231F173C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D-8AD5-4723-870C-A8F4231F173C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E-8AD5-4723-870C-A8F4231F173C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F-8AD5-4723-870C-A8F4231F173C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0-8AD5-4723-870C-A8F4231F173C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1-8AD5-4723-870C-A8F4231F173C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2-8AD5-4723-870C-A8F4231F173C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3-8AD5-4723-870C-A8F4231F173C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4-8AD5-4723-870C-A8F4231F173C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5-8AD5-4723-870C-A8F4231F173C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6-8AD5-4723-870C-A8F4231F173C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7-8AD5-4723-870C-A8F4231F173C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8-8AD5-4723-870C-A8F4231F173C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9-8AD5-4723-870C-A8F4231F173C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A-8AD5-4723-870C-A8F4231F173C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B-8AD5-4723-870C-A8F4231F173C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C-8AD5-4723-870C-A8F4231F173C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2.53968253968254E-2</c:v>
                </c:pt>
                <c:pt idx="1">
                  <c:v>2.2602089268755898E-2</c:v>
                </c:pt>
                <c:pt idx="2">
                  <c:v>2.2466422466422501E-2</c:v>
                </c:pt>
                <c:pt idx="3">
                  <c:v>2.15167548500882E-2</c:v>
                </c:pt>
                <c:pt idx="4">
                  <c:v>2.1652421652421702E-2</c:v>
                </c:pt>
                <c:pt idx="5">
                  <c:v>1.97530864197531E-2</c:v>
                </c:pt>
                <c:pt idx="6">
                  <c:v>1.67412834079501E-2</c:v>
                </c:pt>
                <c:pt idx="7">
                  <c:v>2.01600868267535E-2</c:v>
                </c:pt>
                <c:pt idx="8">
                  <c:v>1.8532085198751901E-2</c:v>
                </c:pt>
                <c:pt idx="9">
                  <c:v>1.7094017094017099E-2</c:v>
                </c:pt>
                <c:pt idx="10">
                  <c:v>1.8097951431284801E-2</c:v>
                </c:pt>
                <c:pt idx="11">
                  <c:v>1.8342151675484999E-2</c:v>
                </c:pt>
                <c:pt idx="12">
                  <c:v>1.8993352326685701E-2</c:v>
                </c:pt>
                <c:pt idx="13">
                  <c:v>1.97530864197531E-2</c:v>
                </c:pt>
                <c:pt idx="14">
                  <c:v>1.97530864197531E-2</c:v>
                </c:pt>
                <c:pt idx="15">
                  <c:v>2.0892687559354198E-2</c:v>
                </c:pt>
                <c:pt idx="16">
                  <c:v>2.3144756478089799E-2</c:v>
                </c:pt>
                <c:pt idx="17">
                  <c:v>2.1381088047754699E-2</c:v>
                </c:pt>
                <c:pt idx="18">
                  <c:v>2.4365757699090999E-2</c:v>
                </c:pt>
                <c:pt idx="19">
                  <c:v>2.40401573734907E-2</c:v>
                </c:pt>
                <c:pt idx="20">
                  <c:v>2.8354361687695E-2</c:v>
                </c:pt>
                <c:pt idx="21">
                  <c:v>2.7241893908560601E-2</c:v>
                </c:pt>
                <c:pt idx="22">
                  <c:v>2.9412562745896102E-2</c:v>
                </c:pt>
                <c:pt idx="23">
                  <c:v>3.1094831094831101E-2</c:v>
                </c:pt>
                <c:pt idx="24">
                  <c:v>3.6358703025369699E-2</c:v>
                </c:pt>
                <c:pt idx="25">
                  <c:v>4.6615113281779898E-2</c:v>
                </c:pt>
                <c:pt idx="26">
                  <c:v>0.16410256410256399</c:v>
                </c:pt>
                <c:pt idx="27">
                  <c:v>0.180952380952381</c:v>
                </c:pt>
                <c:pt idx="28">
                  <c:v>0.15816035816035801</c:v>
                </c:pt>
                <c:pt idx="29">
                  <c:v>0.15691222357889001</c:v>
                </c:pt>
                <c:pt idx="30">
                  <c:v>0.17946004612671301</c:v>
                </c:pt>
                <c:pt idx="31">
                  <c:v>0.18692172025505399</c:v>
                </c:pt>
                <c:pt idx="32">
                  <c:v>0.20301180301180299</c:v>
                </c:pt>
                <c:pt idx="33">
                  <c:v>0.21041921041921</c:v>
                </c:pt>
                <c:pt idx="34">
                  <c:v>0.20651200651200699</c:v>
                </c:pt>
                <c:pt idx="35">
                  <c:v>0.177642110975444</c:v>
                </c:pt>
                <c:pt idx="36">
                  <c:v>0.19842626509293201</c:v>
                </c:pt>
                <c:pt idx="37">
                  <c:v>0.21022927689594401</c:v>
                </c:pt>
                <c:pt idx="38">
                  <c:v>0.26430606430606401</c:v>
                </c:pt>
                <c:pt idx="39">
                  <c:v>0.24951838285171599</c:v>
                </c:pt>
                <c:pt idx="40">
                  <c:v>0.247456247456247</c:v>
                </c:pt>
                <c:pt idx="41">
                  <c:v>0.268593135259802</c:v>
                </c:pt>
                <c:pt idx="42">
                  <c:v>0.27950074616741299</c:v>
                </c:pt>
                <c:pt idx="43">
                  <c:v>0.26330212996879698</c:v>
                </c:pt>
                <c:pt idx="44">
                  <c:v>0.24921991588658299</c:v>
                </c:pt>
                <c:pt idx="45">
                  <c:v>0.26853886853886899</c:v>
                </c:pt>
                <c:pt idx="46">
                  <c:v>0.255080721747388</c:v>
                </c:pt>
                <c:pt idx="47">
                  <c:v>0.24216524216524199</c:v>
                </c:pt>
                <c:pt idx="48">
                  <c:v>0.21964455297788599</c:v>
                </c:pt>
                <c:pt idx="49">
                  <c:v>0.195387328720662</c:v>
                </c:pt>
                <c:pt idx="50">
                  <c:v>0.20105820105820099</c:v>
                </c:pt>
                <c:pt idx="51">
                  <c:v>0.197313797313797</c:v>
                </c:pt>
                <c:pt idx="52">
                  <c:v>0.17408764075430699</c:v>
                </c:pt>
                <c:pt idx="53">
                  <c:v>0.1678379233934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D-8AD5-4723-870C-A8F4231F173C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E-8AD5-4723-870C-A8F4231F17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F-8AD5-4723-870C-A8F4231F17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0-8AD5-4723-870C-A8F4231F17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1-8AD5-4723-870C-A8F4231F17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2-8AD5-4723-870C-A8F4231F17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3-8AD5-4723-870C-A8F4231F17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4-8AD5-4723-870C-A8F4231F17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5-8AD5-4723-870C-A8F4231F17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6-8AD5-4723-870C-A8F4231F17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7-8AD5-4723-870C-A8F4231F17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8-8AD5-4723-870C-A8F4231F17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9-8AD5-4723-870C-A8F4231F17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A-8AD5-4723-870C-A8F4231F17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B-8AD5-4723-870C-A8F4231F17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C-8AD5-4723-870C-A8F4231F17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D-8AD5-4723-870C-A8F4231F17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E-8AD5-4723-870C-A8F4231F17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F-8AD5-4723-870C-A8F4231F17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0-8AD5-4723-870C-A8F4231F17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1-8AD5-4723-870C-A8F4231F17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2-8AD5-4723-870C-A8F4231F17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3-8AD5-4723-870C-A8F4231F17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4-8AD5-4723-870C-A8F4231F17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5-8AD5-4723-870C-A8F4231F17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6-8AD5-4723-870C-A8F4231F17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7-8AD5-4723-870C-A8F4231F17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8-8AD5-4723-870C-A8F4231F173C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9-8AD5-4723-870C-A8F4231F173C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A-8AD5-4723-870C-A8F4231F173C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B-8AD5-4723-870C-A8F4231F173C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C-8AD5-4723-870C-A8F4231F173C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D-8AD5-4723-870C-A8F4231F173C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E-8AD5-4723-870C-A8F4231F173C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F-8AD5-4723-870C-A8F4231F173C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0-8AD5-4723-870C-A8F4231F173C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1-8AD5-4723-870C-A8F4231F173C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2-8AD5-4723-870C-A8F4231F173C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3-8AD5-4723-870C-A8F4231F173C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4-8AD5-4723-870C-A8F4231F173C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5-8AD5-4723-870C-A8F4231F173C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6-8AD5-4723-870C-A8F4231F173C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7-8AD5-4723-870C-A8F4231F173C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8-8AD5-4723-870C-A8F4231F173C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9-8AD5-4723-870C-A8F4231F173C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A-8AD5-4723-870C-A8F4231F173C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B-8AD5-4723-870C-A8F4231F173C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C-8AD5-4723-870C-A8F4231F173C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D-8AD5-4723-870C-A8F4231F173C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E-8AD5-4723-870C-A8F4231F173C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F-8AD5-4723-870C-A8F4231F173C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0-8AD5-4723-870C-A8F4231F173C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1-8AD5-4723-870C-A8F4231F173C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2-8AD5-4723-870C-A8F4231F173C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3-8AD5-4723-870C-A8F4231F173C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2.71062271062271E-2</c:v>
                </c:pt>
                <c:pt idx="1">
                  <c:v>2.4392891059557699E-2</c:v>
                </c:pt>
                <c:pt idx="2">
                  <c:v>2.40944240944241E-2</c:v>
                </c:pt>
                <c:pt idx="3">
                  <c:v>2.2547822547822501E-2</c:v>
                </c:pt>
                <c:pt idx="4">
                  <c:v>2.3334690001356701E-2</c:v>
                </c:pt>
                <c:pt idx="5">
                  <c:v>2.1978021978022001E-2</c:v>
                </c:pt>
                <c:pt idx="6">
                  <c:v>1.8097951431284801E-2</c:v>
                </c:pt>
                <c:pt idx="7">
                  <c:v>2.1381088047754699E-2</c:v>
                </c:pt>
                <c:pt idx="8">
                  <c:v>2.0105820105820099E-2</c:v>
                </c:pt>
                <c:pt idx="9">
                  <c:v>1.7880884547551198E-2</c:v>
                </c:pt>
                <c:pt idx="10">
                  <c:v>1.89119522452856E-2</c:v>
                </c:pt>
                <c:pt idx="11">
                  <c:v>1.9671686338352999E-2</c:v>
                </c:pt>
                <c:pt idx="12">
                  <c:v>2.01600868267535E-2</c:v>
                </c:pt>
                <c:pt idx="13">
                  <c:v>2.0946954280287599E-2</c:v>
                </c:pt>
                <c:pt idx="14">
                  <c:v>2.0811287477954101E-2</c:v>
                </c:pt>
                <c:pt idx="15">
                  <c:v>2.18694885361552E-2</c:v>
                </c:pt>
                <c:pt idx="16">
                  <c:v>2.3904490571157198E-2</c:v>
                </c:pt>
                <c:pt idx="17">
                  <c:v>2.4691358024691398E-2</c:v>
                </c:pt>
                <c:pt idx="18">
                  <c:v>2.6862026862026898E-2</c:v>
                </c:pt>
                <c:pt idx="19">
                  <c:v>2.6997693664360299E-2</c:v>
                </c:pt>
                <c:pt idx="20">
                  <c:v>3.00637633970967E-2</c:v>
                </c:pt>
                <c:pt idx="21">
                  <c:v>2.9602496269162899E-2</c:v>
                </c:pt>
                <c:pt idx="22">
                  <c:v>3.1610364943698302E-2</c:v>
                </c:pt>
                <c:pt idx="23">
                  <c:v>3.2831366164699498E-2</c:v>
                </c:pt>
                <c:pt idx="24">
                  <c:v>4.1514041514041498E-2</c:v>
                </c:pt>
                <c:pt idx="25">
                  <c:v>5.7576990910324199E-2</c:v>
                </c:pt>
                <c:pt idx="26">
                  <c:v>0.36852530185863502</c:v>
                </c:pt>
                <c:pt idx="27">
                  <c:v>0.33922127255460599</c:v>
                </c:pt>
                <c:pt idx="28">
                  <c:v>0.197015330348664</c:v>
                </c:pt>
                <c:pt idx="29">
                  <c:v>0.19755799755799799</c:v>
                </c:pt>
                <c:pt idx="30">
                  <c:v>0.25991045991046002</c:v>
                </c:pt>
                <c:pt idx="31">
                  <c:v>0.24045584045584001</c:v>
                </c:pt>
                <c:pt idx="32">
                  <c:v>0.252611585944919</c:v>
                </c:pt>
                <c:pt idx="33">
                  <c:v>0.24202957536290901</c:v>
                </c:pt>
                <c:pt idx="34">
                  <c:v>0.24848731515398201</c:v>
                </c:pt>
                <c:pt idx="35">
                  <c:v>0.20132953466286799</c:v>
                </c:pt>
                <c:pt idx="36">
                  <c:v>0.22599375932709301</c:v>
                </c:pt>
                <c:pt idx="37">
                  <c:v>0.23630443630443601</c:v>
                </c:pt>
                <c:pt idx="38">
                  <c:v>0.27581060914394201</c:v>
                </c:pt>
                <c:pt idx="39">
                  <c:v>0.26829466829466803</c:v>
                </c:pt>
                <c:pt idx="40">
                  <c:v>0.26064306064306098</c:v>
                </c:pt>
                <c:pt idx="41">
                  <c:v>0.27971781305114601</c:v>
                </c:pt>
                <c:pt idx="42">
                  <c:v>0.29222629222629198</c:v>
                </c:pt>
                <c:pt idx="43">
                  <c:v>0.27912087912087902</c:v>
                </c:pt>
                <c:pt idx="44">
                  <c:v>0.28262108262108299</c:v>
                </c:pt>
                <c:pt idx="45">
                  <c:v>0.30150590150590201</c:v>
                </c:pt>
                <c:pt idx="46">
                  <c:v>0.27065527065527101</c:v>
                </c:pt>
                <c:pt idx="47">
                  <c:v>0.25242165242165199</c:v>
                </c:pt>
                <c:pt idx="48">
                  <c:v>0.23274996608329901</c:v>
                </c:pt>
                <c:pt idx="49">
                  <c:v>0.20548093881427201</c:v>
                </c:pt>
                <c:pt idx="50">
                  <c:v>0.212752679419346</c:v>
                </c:pt>
                <c:pt idx="51">
                  <c:v>0.206294939628273</c:v>
                </c:pt>
                <c:pt idx="52">
                  <c:v>0.182173382173382</c:v>
                </c:pt>
                <c:pt idx="53">
                  <c:v>0.17309275087052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A4-8AD5-4723-870C-A8F4231F17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170154508116565E-2"/>
          <c:y val="2.6289180990899899E-2"/>
          <c:w val="0.97965969098376682"/>
          <c:h val="0.94742163801820023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D842-4FD2-BF2B-6A5DC1700A5E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D842-4FD2-BF2B-6A5DC1700A5E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D842-4FD2-BF2B-6A5DC1700A5E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D842-4FD2-BF2B-6A5DC1700A5E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D842-4FD2-BF2B-6A5DC1700A5E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D842-4FD2-BF2B-6A5DC1700A5E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D842-4FD2-BF2B-6A5DC1700A5E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D842-4FD2-BF2B-6A5DC1700A5E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D842-4FD2-BF2B-6A5DC1700A5E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D842-4FD2-BF2B-6A5DC1700A5E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D842-4FD2-BF2B-6A5DC1700A5E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D842-4FD2-BF2B-6A5DC1700A5E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D842-4FD2-BF2B-6A5DC1700A5E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D842-4FD2-BF2B-6A5DC1700A5E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D842-4FD2-BF2B-6A5DC1700A5E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D842-4FD2-BF2B-6A5DC1700A5E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D842-4FD2-BF2B-6A5DC1700A5E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D842-4FD2-BF2B-6A5DC1700A5E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D842-4FD2-BF2B-6A5DC1700A5E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D842-4FD2-BF2B-6A5DC1700A5E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D842-4FD2-BF2B-6A5DC1700A5E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D842-4FD2-BF2B-6A5DC1700A5E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D842-4FD2-BF2B-6A5DC1700A5E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D842-4FD2-BF2B-6A5DC1700A5E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D842-4FD2-BF2B-6A5DC1700A5E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D842-4FD2-BF2B-6A5DC1700A5E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D842-4FD2-BF2B-6A5DC1700A5E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D842-4FD2-BF2B-6A5DC1700A5E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D842-4FD2-BF2B-6A5DC1700A5E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D842-4FD2-BF2B-6A5DC1700A5E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D842-4FD2-BF2B-6A5DC1700A5E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D842-4FD2-BF2B-6A5DC1700A5E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D842-4FD2-BF2B-6A5DC1700A5E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D842-4FD2-BF2B-6A5DC1700A5E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D842-4FD2-BF2B-6A5DC1700A5E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D842-4FD2-BF2B-6A5DC1700A5E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D842-4FD2-BF2B-6A5DC1700A5E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D842-4FD2-BF2B-6A5DC1700A5E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D842-4FD2-BF2B-6A5DC1700A5E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D842-4FD2-BF2B-6A5DC1700A5E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D842-4FD2-BF2B-6A5DC1700A5E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D842-4FD2-BF2B-6A5DC1700A5E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D842-4FD2-BF2B-6A5DC1700A5E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D842-4FD2-BF2B-6A5DC1700A5E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D842-4FD2-BF2B-6A5DC1700A5E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D842-4FD2-BF2B-6A5DC1700A5E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D842-4FD2-BF2B-6A5DC1700A5E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D842-4FD2-BF2B-6A5DC1700A5E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D842-4FD2-BF2B-6A5DC1700A5E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D842-4FD2-BF2B-6A5DC1700A5E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D842-4FD2-BF2B-6A5DC1700A5E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D842-4FD2-BF2B-6A5DC1700A5E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D842-4FD2-BF2B-6A5DC1700A5E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D842-4FD2-BF2B-6A5DC1700A5E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14754754754754801</c:v>
                </c:pt>
                <c:pt idx="1">
                  <c:v>0.19997139997140001</c:v>
                </c:pt>
                <c:pt idx="2">
                  <c:v>0.188960388960389</c:v>
                </c:pt>
                <c:pt idx="3">
                  <c:v>0.14300014300014299</c:v>
                </c:pt>
                <c:pt idx="4">
                  <c:v>0.13888173888173899</c:v>
                </c:pt>
                <c:pt idx="5">
                  <c:v>0.24661804661804701</c:v>
                </c:pt>
                <c:pt idx="6">
                  <c:v>0.169369369369369</c:v>
                </c:pt>
                <c:pt idx="7">
                  <c:v>0.141570141570142</c:v>
                </c:pt>
                <c:pt idx="8">
                  <c:v>0.14854854854854899</c:v>
                </c:pt>
                <c:pt idx="9">
                  <c:v>0.10785070785070799</c:v>
                </c:pt>
                <c:pt idx="10">
                  <c:v>0.11480051480051499</c:v>
                </c:pt>
                <c:pt idx="11">
                  <c:v>0.14666094666094701</c:v>
                </c:pt>
                <c:pt idx="12">
                  <c:v>0.118775918775919</c:v>
                </c:pt>
                <c:pt idx="13">
                  <c:v>0.13115973115973101</c:v>
                </c:pt>
                <c:pt idx="14">
                  <c:v>0.171914771914772</c:v>
                </c:pt>
                <c:pt idx="15">
                  <c:v>0.15824395824395801</c:v>
                </c:pt>
                <c:pt idx="16">
                  <c:v>0.14460174460174499</c:v>
                </c:pt>
                <c:pt idx="17">
                  <c:v>0.22468182468182499</c:v>
                </c:pt>
                <c:pt idx="18">
                  <c:v>0.22694122694122701</c:v>
                </c:pt>
                <c:pt idx="19">
                  <c:v>0.20820820820820801</c:v>
                </c:pt>
                <c:pt idx="20">
                  <c:v>0.19379379379379399</c:v>
                </c:pt>
                <c:pt idx="21">
                  <c:v>0.158758758758759</c:v>
                </c:pt>
                <c:pt idx="22">
                  <c:v>0.15012155012155001</c:v>
                </c:pt>
                <c:pt idx="23">
                  <c:v>0.19991419991420001</c:v>
                </c:pt>
                <c:pt idx="24">
                  <c:v>0.25019305019304999</c:v>
                </c:pt>
                <c:pt idx="25">
                  <c:v>0.34763334763334802</c:v>
                </c:pt>
                <c:pt idx="26">
                  <c:v>1.1160017160017199</c:v>
                </c:pt>
                <c:pt idx="27">
                  <c:v>0.63274703274703303</c:v>
                </c:pt>
                <c:pt idx="28">
                  <c:v>0.27398827398827402</c:v>
                </c:pt>
                <c:pt idx="29">
                  <c:v>0.213613613613614</c:v>
                </c:pt>
                <c:pt idx="30">
                  <c:v>0.27736307736307703</c:v>
                </c:pt>
                <c:pt idx="31">
                  <c:v>0.204604604604605</c:v>
                </c:pt>
                <c:pt idx="32">
                  <c:v>0.25599885599885602</c:v>
                </c:pt>
                <c:pt idx="33">
                  <c:v>0.16487916487916501</c:v>
                </c:pt>
                <c:pt idx="34">
                  <c:v>0.136793936793937</c:v>
                </c:pt>
                <c:pt idx="35">
                  <c:v>9.3607893607893594E-2</c:v>
                </c:pt>
                <c:pt idx="36">
                  <c:v>7.9050479050479003E-2</c:v>
                </c:pt>
                <c:pt idx="37">
                  <c:v>8.8088088088088101E-2</c:v>
                </c:pt>
                <c:pt idx="38">
                  <c:v>4.8591448591448601E-2</c:v>
                </c:pt>
                <c:pt idx="39">
                  <c:v>6.4521664521664496E-2</c:v>
                </c:pt>
                <c:pt idx="40">
                  <c:v>6.2634062634062598E-2</c:v>
                </c:pt>
                <c:pt idx="41">
                  <c:v>6.3663663663663703E-2</c:v>
                </c:pt>
                <c:pt idx="42">
                  <c:v>5.3253253253253301E-2</c:v>
                </c:pt>
                <c:pt idx="43">
                  <c:v>5.4654654654654702E-2</c:v>
                </c:pt>
                <c:pt idx="44">
                  <c:v>6.53796653796654E-2</c:v>
                </c:pt>
                <c:pt idx="45">
                  <c:v>0.115029315029315</c:v>
                </c:pt>
                <c:pt idx="46">
                  <c:v>7.5446875446875394E-2</c:v>
                </c:pt>
                <c:pt idx="47">
                  <c:v>4.73044473044473E-2</c:v>
                </c:pt>
                <c:pt idx="48">
                  <c:v>4.14414414414414E-2</c:v>
                </c:pt>
                <c:pt idx="49">
                  <c:v>4.1012441012441003E-2</c:v>
                </c:pt>
                <c:pt idx="50">
                  <c:v>3.82954382954383E-2</c:v>
                </c:pt>
                <c:pt idx="51">
                  <c:v>3.7866437866437903E-2</c:v>
                </c:pt>
                <c:pt idx="52">
                  <c:v>4.7762047762047802E-2</c:v>
                </c:pt>
                <c:pt idx="53">
                  <c:v>3.9239239239239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D842-4FD2-BF2B-6A5DC1700A5E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D842-4FD2-BF2B-6A5DC1700A5E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D842-4FD2-BF2B-6A5DC1700A5E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D842-4FD2-BF2B-6A5DC1700A5E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D842-4FD2-BF2B-6A5DC1700A5E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D842-4FD2-BF2B-6A5DC1700A5E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D842-4FD2-BF2B-6A5DC1700A5E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D842-4FD2-BF2B-6A5DC1700A5E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D842-4FD2-BF2B-6A5DC1700A5E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D842-4FD2-BF2B-6A5DC1700A5E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D842-4FD2-BF2B-6A5DC1700A5E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D842-4FD2-BF2B-6A5DC1700A5E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D842-4FD2-BF2B-6A5DC1700A5E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D842-4FD2-BF2B-6A5DC1700A5E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D842-4FD2-BF2B-6A5DC1700A5E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D842-4FD2-BF2B-6A5DC1700A5E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D842-4FD2-BF2B-6A5DC1700A5E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7-D842-4FD2-BF2B-6A5DC1700A5E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8-D842-4FD2-BF2B-6A5DC1700A5E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9-D842-4FD2-BF2B-6A5DC1700A5E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A-D842-4FD2-BF2B-6A5DC1700A5E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B-D842-4FD2-BF2B-6A5DC1700A5E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C-D842-4FD2-BF2B-6A5DC1700A5E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D-D842-4FD2-BF2B-6A5DC1700A5E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E-D842-4FD2-BF2B-6A5DC1700A5E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F-D842-4FD2-BF2B-6A5DC1700A5E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0-D842-4FD2-BF2B-6A5DC1700A5E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1-D842-4FD2-BF2B-6A5DC1700A5E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2-D842-4FD2-BF2B-6A5DC1700A5E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3-D842-4FD2-BF2B-6A5DC1700A5E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4-D842-4FD2-BF2B-6A5DC1700A5E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5-D842-4FD2-BF2B-6A5DC1700A5E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6-D842-4FD2-BF2B-6A5DC1700A5E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7-D842-4FD2-BF2B-6A5DC1700A5E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8-D842-4FD2-BF2B-6A5DC1700A5E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9-D842-4FD2-BF2B-6A5DC1700A5E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A-D842-4FD2-BF2B-6A5DC1700A5E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B-D842-4FD2-BF2B-6A5DC1700A5E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C-D842-4FD2-BF2B-6A5DC1700A5E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D-D842-4FD2-BF2B-6A5DC1700A5E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E-D842-4FD2-BF2B-6A5DC1700A5E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F-D842-4FD2-BF2B-6A5DC1700A5E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0-D842-4FD2-BF2B-6A5DC1700A5E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1-D842-4FD2-BF2B-6A5DC1700A5E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2-D842-4FD2-BF2B-6A5DC1700A5E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3-D842-4FD2-BF2B-6A5DC1700A5E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4-D842-4FD2-BF2B-6A5DC1700A5E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5-D842-4FD2-BF2B-6A5DC1700A5E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6-D842-4FD2-BF2B-6A5DC1700A5E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7-D842-4FD2-BF2B-6A5DC1700A5E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8-D842-4FD2-BF2B-6A5DC1700A5E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9-D842-4FD2-BF2B-6A5DC1700A5E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A-D842-4FD2-BF2B-6A5DC1700A5E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B-D842-4FD2-BF2B-6A5DC1700A5E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C-D842-4FD2-BF2B-6A5DC1700A5E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3.0035464035463999</c:v>
                </c:pt>
                <c:pt idx="1">
                  <c:v>3.14829114829115</c:v>
                </c:pt>
                <c:pt idx="2">
                  <c:v>3.2366080366080401</c:v>
                </c:pt>
                <c:pt idx="3">
                  <c:v>3.22519662519663</c:v>
                </c:pt>
                <c:pt idx="4">
                  <c:v>3.2621192621192598</c:v>
                </c:pt>
                <c:pt idx="5">
                  <c:v>3.2196482196482199</c:v>
                </c:pt>
                <c:pt idx="6">
                  <c:v>3.21904761904762</c:v>
                </c:pt>
                <c:pt idx="7">
                  <c:v>3.3132561132561098</c:v>
                </c:pt>
                <c:pt idx="8">
                  <c:v>3.3361361361361399</c:v>
                </c:pt>
                <c:pt idx="9">
                  <c:v>3.32686972686973</c:v>
                </c:pt>
                <c:pt idx="10">
                  <c:v>3.24970684970685</c:v>
                </c:pt>
                <c:pt idx="11">
                  <c:v>3.2561704561704601</c:v>
                </c:pt>
                <c:pt idx="12">
                  <c:v>3.3239525239525198</c:v>
                </c:pt>
                <c:pt idx="13">
                  <c:v>3.4040612040611999</c:v>
                </c:pt>
                <c:pt idx="14">
                  <c:v>3.79502359502359</c:v>
                </c:pt>
                <c:pt idx="15">
                  <c:v>3.3765479765479798</c:v>
                </c:pt>
                <c:pt idx="16">
                  <c:v>3.50833690833691</c:v>
                </c:pt>
                <c:pt idx="17">
                  <c:v>3.23174603174603</c:v>
                </c:pt>
                <c:pt idx="18">
                  <c:v>3.4116688116688101</c:v>
                </c:pt>
                <c:pt idx="19">
                  <c:v>3.5648219648219599</c:v>
                </c:pt>
                <c:pt idx="20">
                  <c:v>3.5882453882453902</c:v>
                </c:pt>
                <c:pt idx="21">
                  <c:v>3.24724724724725</c:v>
                </c:pt>
                <c:pt idx="22">
                  <c:v>3.28906048906049</c:v>
                </c:pt>
                <c:pt idx="23">
                  <c:v>3.7549549549549499</c:v>
                </c:pt>
                <c:pt idx="24">
                  <c:v>3.6830544830544798</c:v>
                </c:pt>
                <c:pt idx="25">
                  <c:v>3.5272701272701301</c:v>
                </c:pt>
                <c:pt idx="26">
                  <c:v>3.3182897182897202</c:v>
                </c:pt>
                <c:pt idx="27">
                  <c:v>3.1386529386529398</c:v>
                </c:pt>
                <c:pt idx="28">
                  <c:v>3.2635778635778601</c:v>
                </c:pt>
                <c:pt idx="29">
                  <c:v>3.2893750893750902</c:v>
                </c:pt>
                <c:pt idx="30">
                  <c:v>3.1583583583583601</c:v>
                </c:pt>
                <c:pt idx="31">
                  <c:v>3.1079937079937099</c:v>
                </c:pt>
                <c:pt idx="32">
                  <c:v>3.0001144001143998</c:v>
                </c:pt>
                <c:pt idx="33">
                  <c:v>3.0117260117260098</c:v>
                </c:pt>
                <c:pt idx="34">
                  <c:v>2.9066495066495102</c:v>
                </c:pt>
                <c:pt idx="35">
                  <c:v>2.71731731731732</c:v>
                </c:pt>
                <c:pt idx="36">
                  <c:v>2.9439153439153398</c:v>
                </c:pt>
                <c:pt idx="37">
                  <c:v>2.8680680680680699</c:v>
                </c:pt>
                <c:pt idx="38">
                  <c:v>2.97200057200057</c:v>
                </c:pt>
                <c:pt idx="39">
                  <c:v>2.88102388102388</c:v>
                </c:pt>
                <c:pt idx="40">
                  <c:v>2.9205777205777199</c:v>
                </c:pt>
                <c:pt idx="41">
                  <c:v>3.1370513370513402</c:v>
                </c:pt>
                <c:pt idx="42">
                  <c:v>3.1253253253253299</c:v>
                </c:pt>
                <c:pt idx="43">
                  <c:v>2.78009438009438</c:v>
                </c:pt>
                <c:pt idx="44">
                  <c:v>2.7972829972829998</c:v>
                </c:pt>
                <c:pt idx="45">
                  <c:v>2.9365079365079398</c:v>
                </c:pt>
                <c:pt idx="46">
                  <c:v>2.9377949377949402</c:v>
                </c:pt>
                <c:pt idx="47">
                  <c:v>2.7823823823823801</c:v>
                </c:pt>
                <c:pt idx="48">
                  <c:v>2.79482339482339</c:v>
                </c:pt>
                <c:pt idx="49">
                  <c:v>2.4790504790504801</c:v>
                </c:pt>
                <c:pt idx="50">
                  <c:v>2.6840840840840801</c:v>
                </c:pt>
                <c:pt idx="51">
                  <c:v>2.6223652223652199</c:v>
                </c:pt>
                <c:pt idx="52">
                  <c:v>2.5810095810095799</c:v>
                </c:pt>
                <c:pt idx="53">
                  <c:v>2.62822822822823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D-D842-4FD2-BF2B-6A5DC1700A5E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E-D842-4FD2-BF2B-6A5DC1700A5E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F-D842-4FD2-BF2B-6A5DC1700A5E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0-D842-4FD2-BF2B-6A5DC1700A5E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1-D842-4FD2-BF2B-6A5DC1700A5E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2-D842-4FD2-BF2B-6A5DC1700A5E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3-D842-4FD2-BF2B-6A5DC1700A5E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4-D842-4FD2-BF2B-6A5DC1700A5E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5-D842-4FD2-BF2B-6A5DC1700A5E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6-D842-4FD2-BF2B-6A5DC1700A5E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7-D842-4FD2-BF2B-6A5DC1700A5E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8-D842-4FD2-BF2B-6A5DC1700A5E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9-D842-4FD2-BF2B-6A5DC1700A5E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A-D842-4FD2-BF2B-6A5DC1700A5E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B-D842-4FD2-BF2B-6A5DC1700A5E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C-D842-4FD2-BF2B-6A5DC1700A5E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D-D842-4FD2-BF2B-6A5DC1700A5E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E-D842-4FD2-BF2B-6A5DC1700A5E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F-D842-4FD2-BF2B-6A5DC1700A5E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0-D842-4FD2-BF2B-6A5DC1700A5E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1-D842-4FD2-BF2B-6A5DC1700A5E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2-D842-4FD2-BF2B-6A5DC1700A5E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3-D842-4FD2-BF2B-6A5DC1700A5E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4-D842-4FD2-BF2B-6A5DC1700A5E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5-D842-4FD2-BF2B-6A5DC1700A5E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6-D842-4FD2-BF2B-6A5DC1700A5E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7-D842-4FD2-BF2B-6A5DC1700A5E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8-D842-4FD2-BF2B-6A5DC1700A5E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9-D842-4FD2-BF2B-6A5DC1700A5E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A-D842-4FD2-BF2B-6A5DC1700A5E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B-D842-4FD2-BF2B-6A5DC1700A5E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C-D842-4FD2-BF2B-6A5DC1700A5E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D-D842-4FD2-BF2B-6A5DC1700A5E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E-D842-4FD2-BF2B-6A5DC1700A5E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F-D842-4FD2-BF2B-6A5DC1700A5E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0-D842-4FD2-BF2B-6A5DC1700A5E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1-D842-4FD2-BF2B-6A5DC1700A5E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2-D842-4FD2-BF2B-6A5DC1700A5E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3-D842-4FD2-BF2B-6A5DC1700A5E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4-D842-4FD2-BF2B-6A5DC1700A5E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5-D842-4FD2-BF2B-6A5DC1700A5E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6-D842-4FD2-BF2B-6A5DC1700A5E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7-D842-4FD2-BF2B-6A5DC1700A5E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8-D842-4FD2-BF2B-6A5DC1700A5E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9-D842-4FD2-BF2B-6A5DC1700A5E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A-D842-4FD2-BF2B-6A5DC1700A5E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B-D842-4FD2-BF2B-6A5DC1700A5E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C-D842-4FD2-BF2B-6A5DC1700A5E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D-D842-4FD2-BF2B-6A5DC1700A5E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E-D842-4FD2-BF2B-6A5DC1700A5E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F-D842-4FD2-BF2B-6A5DC1700A5E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0-D842-4FD2-BF2B-6A5DC1700A5E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1-D842-4FD2-BF2B-6A5DC1700A5E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2-D842-4FD2-BF2B-6A5DC1700A5E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3-D842-4FD2-BF2B-6A5DC1700A5E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3.1510939510939502</c:v>
                </c:pt>
                <c:pt idx="1">
                  <c:v>3.3482625482625501</c:v>
                </c:pt>
                <c:pt idx="2">
                  <c:v>3.42556842556843</c:v>
                </c:pt>
                <c:pt idx="3">
                  <c:v>3.3681967681967699</c:v>
                </c:pt>
                <c:pt idx="4">
                  <c:v>3.4010010010010001</c:v>
                </c:pt>
                <c:pt idx="5">
                  <c:v>3.46626626626627</c:v>
                </c:pt>
                <c:pt idx="6">
                  <c:v>3.3884169884169899</c:v>
                </c:pt>
                <c:pt idx="7">
                  <c:v>3.4548262548262501</c:v>
                </c:pt>
                <c:pt idx="8">
                  <c:v>3.4846846846846802</c:v>
                </c:pt>
                <c:pt idx="9">
                  <c:v>3.4347204347204299</c:v>
                </c:pt>
                <c:pt idx="10">
                  <c:v>3.36450736450736</c:v>
                </c:pt>
                <c:pt idx="11">
                  <c:v>3.4028314028314002</c:v>
                </c:pt>
                <c:pt idx="12">
                  <c:v>3.4427284427284399</c:v>
                </c:pt>
                <c:pt idx="13">
                  <c:v>3.5352209352209401</c:v>
                </c:pt>
                <c:pt idx="14">
                  <c:v>3.9669383669383702</c:v>
                </c:pt>
                <c:pt idx="15">
                  <c:v>3.5347919347919299</c:v>
                </c:pt>
                <c:pt idx="16">
                  <c:v>3.6529386529386501</c:v>
                </c:pt>
                <c:pt idx="17">
                  <c:v>3.4564278564278599</c:v>
                </c:pt>
                <c:pt idx="18">
                  <c:v>3.63861003861004</c:v>
                </c:pt>
                <c:pt idx="19">
                  <c:v>3.7730301730301701</c:v>
                </c:pt>
                <c:pt idx="20">
                  <c:v>3.7820391820391799</c:v>
                </c:pt>
                <c:pt idx="21">
                  <c:v>3.40600600600601</c:v>
                </c:pt>
                <c:pt idx="22">
                  <c:v>3.43918203918204</c:v>
                </c:pt>
                <c:pt idx="23">
                  <c:v>3.9548691548691499</c:v>
                </c:pt>
                <c:pt idx="24">
                  <c:v>3.9332475332475298</c:v>
                </c:pt>
                <c:pt idx="25">
                  <c:v>3.8749034749034701</c:v>
                </c:pt>
                <c:pt idx="26">
                  <c:v>4.4342914342914304</c:v>
                </c:pt>
                <c:pt idx="27">
                  <c:v>3.77139997139997</c:v>
                </c:pt>
                <c:pt idx="28">
                  <c:v>3.5375661375661398</c:v>
                </c:pt>
                <c:pt idx="29">
                  <c:v>3.5029887029886999</c:v>
                </c:pt>
                <c:pt idx="30">
                  <c:v>3.4357214357214398</c:v>
                </c:pt>
                <c:pt idx="31">
                  <c:v>3.3125983125983098</c:v>
                </c:pt>
                <c:pt idx="32">
                  <c:v>3.25611325611326</c:v>
                </c:pt>
                <c:pt idx="33">
                  <c:v>3.1766051766051802</c:v>
                </c:pt>
                <c:pt idx="34">
                  <c:v>3.0434434434434401</c:v>
                </c:pt>
                <c:pt idx="35">
                  <c:v>2.8109252109252099</c:v>
                </c:pt>
                <c:pt idx="36">
                  <c:v>3.0229658229658201</c:v>
                </c:pt>
                <c:pt idx="37">
                  <c:v>2.95615615615616</c:v>
                </c:pt>
                <c:pt idx="38">
                  <c:v>3.0205920205920198</c:v>
                </c:pt>
                <c:pt idx="39">
                  <c:v>2.9455455455455501</c:v>
                </c:pt>
                <c:pt idx="40">
                  <c:v>2.9832117832117802</c:v>
                </c:pt>
                <c:pt idx="41">
                  <c:v>3.2007150007149998</c:v>
                </c:pt>
                <c:pt idx="42">
                  <c:v>3.1785785785785801</c:v>
                </c:pt>
                <c:pt idx="43">
                  <c:v>2.8347490347490298</c:v>
                </c:pt>
                <c:pt idx="44">
                  <c:v>2.8626626626626601</c:v>
                </c:pt>
                <c:pt idx="45">
                  <c:v>3.0515372515372499</c:v>
                </c:pt>
                <c:pt idx="46">
                  <c:v>3.0132418132418102</c:v>
                </c:pt>
                <c:pt idx="47">
                  <c:v>2.8296868296868301</c:v>
                </c:pt>
                <c:pt idx="48">
                  <c:v>2.8362648362648399</c:v>
                </c:pt>
                <c:pt idx="49">
                  <c:v>2.5200629200629199</c:v>
                </c:pt>
                <c:pt idx="50">
                  <c:v>2.7223795223795202</c:v>
                </c:pt>
                <c:pt idx="51">
                  <c:v>2.66023166023166</c:v>
                </c:pt>
                <c:pt idx="52">
                  <c:v>2.6287716287716298</c:v>
                </c:pt>
                <c:pt idx="53">
                  <c:v>2.66746746746746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A4-D842-4FD2-BF2B-6A5DC1700A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4.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94736842105262E-2"/>
          <c:y val="2.6170105686965275E-2"/>
          <c:w val="0.95621052631578951"/>
          <c:h val="0.947659788626069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17958571428571399</c:v>
                </c:pt>
                <c:pt idx="1">
                  <c:v>0.18904285714285701</c:v>
                </c:pt>
                <c:pt idx="2">
                  <c:v>0.166278571428571</c:v>
                </c:pt>
                <c:pt idx="3">
                  <c:v>0.129</c:v>
                </c:pt>
                <c:pt idx="4">
                  <c:v>0.15687857142857101</c:v>
                </c:pt>
                <c:pt idx="5">
                  <c:v>0.23522857142857101</c:v>
                </c:pt>
                <c:pt idx="6">
                  <c:v>0.172171428571429</c:v>
                </c:pt>
                <c:pt idx="7">
                  <c:v>0.17453571428571399</c:v>
                </c:pt>
                <c:pt idx="8">
                  <c:v>0.164778571428571</c:v>
                </c:pt>
                <c:pt idx="9">
                  <c:v>0.14767142857142901</c:v>
                </c:pt>
                <c:pt idx="10">
                  <c:v>0.15365000000000001</c:v>
                </c:pt>
                <c:pt idx="11">
                  <c:v>0.15461428571428601</c:v>
                </c:pt>
                <c:pt idx="12">
                  <c:v>0.152285714285714</c:v>
                </c:pt>
                <c:pt idx="13">
                  <c:v>0.15038571428571401</c:v>
                </c:pt>
                <c:pt idx="14">
                  <c:v>0.16166428571428601</c:v>
                </c:pt>
                <c:pt idx="15">
                  <c:v>0.183771428571429</c:v>
                </c:pt>
                <c:pt idx="16">
                  <c:v>0.19049285714285699</c:v>
                </c:pt>
                <c:pt idx="17">
                  <c:v>0.24217857142857099</c:v>
                </c:pt>
                <c:pt idx="18">
                  <c:v>0.247842857142857</c:v>
                </c:pt>
                <c:pt idx="19">
                  <c:v>0.22855</c:v>
                </c:pt>
                <c:pt idx="20">
                  <c:v>0.208971428571429</c:v>
                </c:pt>
                <c:pt idx="21">
                  <c:v>0.19614285714285701</c:v>
                </c:pt>
                <c:pt idx="22">
                  <c:v>0.17441428571428599</c:v>
                </c:pt>
                <c:pt idx="23">
                  <c:v>0.21090714285714299</c:v>
                </c:pt>
                <c:pt idx="24">
                  <c:v>0.29551428571428601</c:v>
                </c:pt>
                <c:pt idx="25">
                  <c:v>0.38832142857142898</c:v>
                </c:pt>
                <c:pt idx="26">
                  <c:v>1.0651071428571399</c:v>
                </c:pt>
                <c:pt idx="27">
                  <c:v>0.54399285714285694</c:v>
                </c:pt>
                <c:pt idx="28">
                  <c:v>0.25217142857142899</c:v>
                </c:pt>
                <c:pt idx="29">
                  <c:v>0.177257142857143</c:v>
                </c:pt>
                <c:pt idx="30">
                  <c:v>0.24032142857142899</c:v>
                </c:pt>
                <c:pt idx="31">
                  <c:v>0.19739999999999999</c:v>
                </c:pt>
                <c:pt idx="32">
                  <c:v>0.19504285714285699</c:v>
                </c:pt>
                <c:pt idx="33">
                  <c:v>0.14906428571428601</c:v>
                </c:pt>
                <c:pt idx="34">
                  <c:v>0.12294285714285701</c:v>
                </c:pt>
                <c:pt idx="35">
                  <c:v>8.0350000000000005E-2</c:v>
                </c:pt>
                <c:pt idx="36">
                  <c:v>7.7214285714285694E-2</c:v>
                </c:pt>
                <c:pt idx="37">
                  <c:v>8.4014285714285694E-2</c:v>
                </c:pt>
                <c:pt idx="38">
                  <c:v>6.0057142857142899E-2</c:v>
                </c:pt>
                <c:pt idx="39">
                  <c:v>6.0499999999999998E-2</c:v>
                </c:pt>
                <c:pt idx="40">
                  <c:v>5.8964285714285698E-2</c:v>
                </c:pt>
                <c:pt idx="41">
                  <c:v>6.6242857142857103E-2</c:v>
                </c:pt>
                <c:pt idx="42">
                  <c:v>5.5607142857142897E-2</c:v>
                </c:pt>
                <c:pt idx="43">
                  <c:v>5.6385714285714303E-2</c:v>
                </c:pt>
                <c:pt idx="44">
                  <c:v>8.0328571428571402E-2</c:v>
                </c:pt>
                <c:pt idx="45">
                  <c:v>9.4642857142857098E-2</c:v>
                </c:pt>
                <c:pt idx="46">
                  <c:v>0.06</c:v>
                </c:pt>
                <c:pt idx="47">
                  <c:v>5.2678571428571401E-2</c:v>
                </c:pt>
                <c:pt idx="48">
                  <c:v>4.5414285714285699E-2</c:v>
                </c:pt>
                <c:pt idx="49">
                  <c:v>3.9314285714285697E-2</c:v>
                </c:pt>
                <c:pt idx="50">
                  <c:v>4.5892857142857103E-2</c:v>
                </c:pt>
                <c:pt idx="51">
                  <c:v>4.7821428571428598E-2</c:v>
                </c:pt>
                <c:pt idx="52">
                  <c:v>5.1671428571428597E-2</c:v>
                </c:pt>
                <c:pt idx="53">
                  <c:v>4.755000000000000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9D9-486F-8A20-86A16A3684FE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1.15330714285714</c:v>
                </c:pt>
                <c:pt idx="1">
                  <c:v>1.18637142857143</c:v>
                </c:pt>
                <c:pt idx="2">
                  <c:v>1.2048642857142899</c:v>
                </c:pt>
                <c:pt idx="3">
                  <c:v>1.19845</c:v>
                </c:pt>
                <c:pt idx="4">
                  <c:v>1.23628571428571</c:v>
                </c:pt>
                <c:pt idx="5">
                  <c:v>1.51181428571429</c:v>
                </c:pt>
                <c:pt idx="6">
                  <c:v>1.1559071428571399</c:v>
                </c:pt>
                <c:pt idx="7">
                  <c:v>1.2661500000000001</c:v>
                </c:pt>
                <c:pt idx="8">
                  <c:v>1.30642142857143</c:v>
                </c:pt>
                <c:pt idx="9">
                  <c:v>1.25579285714286</c:v>
                </c:pt>
                <c:pt idx="10">
                  <c:v>1.23925</c:v>
                </c:pt>
                <c:pt idx="11">
                  <c:v>1.2146071428571401</c:v>
                </c:pt>
                <c:pt idx="12">
                  <c:v>1.2530142857142901</c:v>
                </c:pt>
                <c:pt idx="13">
                  <c:v>1.26143571428571</c:v>
                </c:pt>
                <c:pt idx="14">
                  <c:v>1.45493571428571</c:v>
                </c:pt>
                <c:pt idx="15">
                  <c:v>1.26951428571429</c:v>
                </c:pt>
                <c:pt idx="16">
                  <c:v>1.2918857142857101</c:v>
                </c:pt>
                <c:pt idx="17">
                  <c:v>1.21587857142857</c:v>
                </c:pt>
                <c:pt idx="18">
                  <c:v>1.25895714285714</c:v>
                </c:pt>
                <c:pt idx="19">
                  <c:v>1.3011285714285701</c:v>
                </c:pt>
                <c:pt idx="20">
                  <c:v>1.3018642857142899</c:v>
                </c:pt>
                <c:pt idx="21">
                  <c:v>1.1885214285714301</c:v>
                </c:pt>
                <c:pt idx="22">
                  <c:v>1.1832642857142901</c:v>
                </c:pt>
                <c:pt idx="23">
                  <c:v>1.3456928571428599</c:v>
                </c:pt>
                <c:pt idx="24">
                  <c:v>1.3007357142857101</c:v>
                </c:pt>
                <c:pt idx="25">
                  <c:v>1.1841999999999999</c:v>
                </c:pt>
                <c:pt idx="26">
                  <c:v>1.1745142857142901</c:v>
                </c:pt>
                <c:pt idx="27">
                  <c:v>1.0988714285714301</c:v>
                </c:pt>
                <c:pt idx="28">
                  <c:v>1.2054571428571399</c:v>
                </c:pt>
                <c:pt idx="29">
                  <c:v>1.19237142857143</c:v>
                </c:pt>
                <c:pt idx="30">
                  <c:v>1.17645714285714</c:v>
                </c:pt>
                <c:pt idx="31">
                  <c:v>1.1560857142857099</c:v>
                </c:pt>
                <c:pt idx="32">
                  <c:v>1.1157142857142901</c:v>
                </c:pt>
                <c:pt idx="33">
                  <c:v>1.1326499999999999</c:v>
                </c:pt>
                <c:pt idx="34">
                  <c:v>1.0821642857142899</c:v>
                </c:pt>
                <c:pt idx="35">
                  <c:v>1.0105428571428601</c:v>
                </c:pt>
                <c:pt idx="36">
                  <c:v>1.07812142857143</c:v>
                </c:pt>
                <c:pt idx="37">
                  <c:v>1.0701714285714301</c:v>
                </c:pt>
                <c:pt idx="38">
                  <c:v>1.1133357142857101</c:v>
                </c:pt>
                <c:pt idx="39">
                  <c:v>1.08766428571429</c:v>
                </c:pt>
                <c:pt idx="40">
                  <c:v>1.0680714285714299</c:v>
                </c:pt>
                <c:pt idx="41">
                  <c:v>1.0579714285714299</c:v>
                </c:pt>
                <c:pt idx="42">
                  <c:v>1.0993999999999999</c:v>
                </c:pt>
                <c:pt idx="43">
                  <c:v>1.05125</c:v>
                </c:pt>
                <c:pt idx="44">
                  <c:v>1.0360642857142901</c:v>
                </c:pt>
                <c:pt idx="45">
                  <c:v>1.11366428571429</c:v>
                </c:pt>
                <c:pt idx="46">
                  <c:v>1.11177142857143</c:v>
                </c:pt>
                <c:pt idx="47">
                  <c:v>1.0767571428571401</c:v>
                </c:pt>
                <c:pt idx="48">
                  <c:v>1.0572071428571399</c:v>
                </c:pt>
                <c:pt idx="49">
                  <c:v>0.94322142857142899</c:v>
                </c:pt>
                <c:pt idx="50">
                  <c:v>0.98566428571428599</c:v>
                </c:pt>
                <c:pt idx="51">
                  <c:v>0.97632142857142901</c:v>
                </c:pt>
                <c:pt idx="52">
                  <c:v>1.0098857142857101</c:v>
                </c:pt>
                <c:pt idx="53">
                  <c:v>1.0446166666666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9D9-486F-8A20-86A16A3684FE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1.33289285714286</c:v>
                </c:pt>
                <c:pt idx="1">
                  <c:v>1.3754142857142899</c:v>
                </c:pt>
                <c:pt idx="2">
                  <c:v>1.3711428571428601</c:v>
                </c:pt>
                <c:pt idx="3">
                  <c:v>1.32745</c:v>
                </c:pt>
                <c:pt idx="4">
                  <c:v>1.3931642857142901</c:v>
                </c:pt>
                <c:pt idx="5">
                  <c:v>1.74704285714286</c:v>
                </c:pt>
                <c:pt idx="6">
                  <c:v>1.3280785714285701</c:v>
                </c:pt>
                <c:pt idx="7">
                  <c:v>1.4406857142857099</c:v>
                </c:pt>
                <c:pt idx="8">
                  <c:v>1.4712000000000001</c:v>
                </c:pt>
                <c:pt idx="9">
                  <c:v>1.40346428571429</c:v>
                </c:pt>
                <c:pt idx="10">
                  <c:v>1.3929</c:v>
                </c:pt>
                <c:pt idx="11">
                  <c:v>1.3692214285714299</c:v>
                </c:pt>
                <c:pt idx="12">
                  <c:v>1.4053</c:v>
                </c:pt>
                <c:pt idx="13">
                  <c:v>1.4118214285714299</c:v>
                </c:pt>
                <c:pt idx="14">
                  <c:v>1.6166</c:v>
                </c:pt>
                <c:pt idx="15">
                  <c:v>1.4532857142857101</c:v>
                </c:pt>
                <c:pt idx="16">
                  <c:v>1.48237857142857</c:v>
                </c:pt>
                <c:pt idx="17">
                  <c:v>1.4580571428571401</c:v>
                </c:pt>
                <c:pt idx="18">
                  <c:v>1.5067999999999999</c:v>
                </c:pt>
                <c:pt idx="19">
                  <c:v>1.5296785714285701</c:v>
                </c:pt>
                <c:pt idx="20">
                  <c:v>1.5108357142857101</c:v>
                </c:pt>
                <c:pt idx="21">
                  <c:v>1.3846642857142899</c:v>
                </c:pt>
                <c:pt idx="22">
                  <c:v>1.35767857142857</c:v>
                </c:pt>
                <c:pt idx="23">
                  <c:v>1.5566</c:v>
                </c:pt>
                <c:pt idx="24">
                  <c:v>1.5962499999999999</c:v>
                </c:pt>
                <c:pt idx="25">
                  <c:v>1.57252142857143</c:v>
                </c:pt>
                <c:pt idx="26">
                  <c:v>2.23962142857143</c:v>
                </c:pt>
                <c:pt idx="27">
                  <c:v>1.6428642857142901</c:v>
                </c:pt>
                <c:pt idx="28">
                  <c:v>1.4576285714285699</c:v>
                </c:pt>
                <c:pt idx="29">
                  <c:v>1.3696285714285701</c:v>
                </c:pt>
                <c:pt idx="30">
                  <c:v>1.4167785714285701</c:v>
                </c:pt>
                <c:pt idx="31">
                  <c:v>1.35348571428571</c:v>
                </c:pt>
                <c:pt idx="32">
                  <c:v>1.3107571428571401</c:v>
                </c:pt>
                <c:pt idx="33">
                  <c:v>1.28171428571429</c:v>
                </c:pt>
                <c:pt idx="34">
                  <c:v>1.20510714285714</c:v>
                </c:pt>
                <c:pt idx="35">
                  <c:v>1.09089285714286</c:v>
                </c:pt>
                <c:pt idx="36">
                  <c:v>1.1553357142857099</c:v>
                </c:pt>
                <c:pt idx="37">
                  <c:v>1.1541857142857099</c:v>
                </c:pt>
                <c:pt idx="38">
                  <c:v>1.17339285714286</c:v>
                </c:pt>
                <c:pt idx="39">
                  <c:v>1.14816428571429</c:v>
                </c:pt>
                <c:pt idx="40">
                  <c:v>1.1270357142857099</c:v>
                </c:pt>
                <c:pt idx="41">
                  <c:v>1.1242142857142901</c:v>
                </c:pt>
                <c:pt idx="42">
                  <c:v>1.15500714285714</c:v>
                </c:pt>
                <c:pt idx="43">
                  <c:v>1.1076357142857101</c:v>
                </c:pt>
                <c:pt idx="44">
                  <c:v>1.1163928571428601</c:v>
                </c:pt>
                <c:pt idx="45">
                  <c:v>1.2083071428571399</c:v>
                </c:pt>
                <c:pt idx="46">
                  <c:v>1.17177142857143</c:v>
                </c:pt>
                <c:pt idx="47">
                  <c:v>1.1294357142857101</c:v>
                </c:pt>
                <c:pt idx="48">
                  <c:v>1.10262142857143</c:v>
                </c:pt>
                <c:pt idx="49">
                  <c:v>0.98253571428571396</c:v>
                </c:pt>
                <c:pt idx="50">
                  <c:v>1.03155714285714</c:v>
                </c:pt>
                <c:pt idx="51">
                  <c:v>1.0241428571428599</c:v>
                </c:pt>
                <c:pt idx="52">
                  <c:v>1.06155714285714</c:v>
                </c:pt>
                <c:pt idx="53">
                  <c:v>1.0921666666666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9D9-486F-8A20-86A16A3684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90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2.400000000000000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94736842105262E-2"/>
          <c:y val="2.6170105686965275E-2"/>
          <c:w val="0.95621052631578951"/>
          <c:h val="0.947659788626069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31418571428571401</c:v>
                </c:pt>
                <c:pt idx="27">
                  <c:v>0.18329999999999999</c:v>
                </c:pt>
                <c:pt idx="28">
                  <c:v>5.2850000000000001E-2</c:v>
                </c:pt>
                <c:pt idx="29">
                  <c:v>4.6528571428571398E-2</c:v>
                </c:pt>
                <c:pt idx="30">
                  <c:v>9.3064285714285697E-2</c:v>
                </c:pt>
                <c:pt idx="31">
                  <c:v>6.7021428571428607E-2</c:v>
                </c:pt>
                <c:pt idx="32">
                  <c:v>8.6971428571428602E-2</c:v>
                </c:pt>
                <c:pt idx="33">
                  <c:v>6.1442857142857098E-2</c:v>
                </c:pt>
                <c:pt idx="34">
                  <c:v>5.8200000000000002E-2</c:v>
                </c:pt>
                <c:pt idx="35">
                  <c:v>3.0242857142857099E-2</c:v>
                </c:pt>
                <c:pt idx="36">
                  <c:v>3.0607142857142899E-2</c:v>
                </c:pt>
                <c:pt idx="37">
                  <c:v>2.9649999999999999E-2</c:v>
                </c:pt>
                <c:pt idx="38">
                  <c:v>1.6292857142857099E-2</c:v>
                </c:pt>
                <c:pt idx="39">
                  <c:v>2.2957142857142902E-2</c:v>
                </c:pt>
                <c:pt idx="40">
                  <c:v>1.81285714285714E-2</c:v>
                </c:pt>
                <c:pt idx="41">
                  <c:v>1.8878571428571401E-2</c:v>
                </c:pt>
                <c:pt idx="42">
                  <c:v>1.7600000000000001E-2</c:v>
                </c:pt>
                <c:pt idx="43">
                  <c:v>2.54571428571429E-2</c:v>
                </c:pt>
                <c:pt idx="44">
                  <c:v>3.3271428571428598E-2</c:v>
                </c:pt>
                <c:pt idx="45">
                  <c:v>4.9928571428571399E-2</c:v>
                </c:pt>
                <c:pt idx="46">
                  <c:v>2.4549999999999999E-2</c:v>
                </c:pt>
                <c:pt idx="47">
                  <c:v>1.7649999999999999E-2</c:v>
                </c:pt>
                <c:pt idx="48">
                  <c:v>1.66928571428571E-2</c:v>
                </c:pt>
                <c:pt idx="49">
                  <c:v>1.57428571428571E-2</c:v>
                </c:pt>
                <c:pt idx="50">
                  <c:v>1.58357142857143E-2</c:v>
                </c:pt>
                <c:pt idx="51">
                  <c:v>1.48642857142857E-2</c:v>
                </c:pt>
                <c:pt idx="52">
                  <c:v>1.4885714285714301E-2</c:v>
                </c:pt>
                <c:pt idx="53">
                  <c:v>1.41833333333333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CBE-4C31-91CF-C4077B3E7224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0.79305714285714302</c:v>
                </c:pt>
                <c:pt idx="1">
                  <c:v>0.81862142857142906</c:v>
                </c:pt>
                <c:pt idx="2">
                  <c:v>0.827364285714286</c:v>
                </c:pt>
                <c:pt idx="3">
                  <c:v>0.80755714285714297</c:v>
                </c:pt>
                <c:pt idx="4">
                  <c:v>0.833364285714286</c:v>
                </c:pt>
                <c:pt idx="5">
                  <c:v>0.82674999999999998</c:v>
                </c:pt>
                <c:pt idx="6">
                  <c:v>0.80797857142857099</c:v>
                </c:pt>
                <c:pt idx="7">
                  <c:v>0.86790714285714299</c:v>
                </c:pt>
                <c:pt idx="8">
                  <c:v>0.84789999999999999</c:v>
                </c:pt>
                <c:pt idx="9">
                  <c:v>0.85173571428571404</c:v>
                </c:pt>
                <c:pt idx="10">
                  <c:v>0.85102857142857102</c:v>
                </c:pt>
                <c:pt idx="11">
                  <c:v>0.82006428571428602</c:v>
                </c:pt>
                <c:pt idx="12">
                  <c:v>0.86950000000000005</c:v>
                </c:pt>
                <c:pt idx="13">
                  <c:v>0.883192857142857</c:v>
                </c:pt>
                <c:pt idx="14">
                  <c:v>0.98134999999999994</c:v>
                </c:pt>
                <c:pt idx="15">
                  <c:v>0.898057142857143</c:v>
                </c:pt>
                <c:pt idx="16">
                  <c:v>0.93149999999999999</c:v>
                </c:pt>
                <c:pt idx="17">
                  <c:v>0.86914285714285699</c:v>
                </c:pt>
                <c:pt idx="18">
                  <c:v>0.91459285714285699</c:v>
                </c:pt>
                <c:pt idx="19">
                  <c:v>0.95951428571428599</c:v>
                </c:pt>
                <c:pt idx="20">
                  <c:v>1.0148928571428599</c:v>
                </c:pt>
                <c:pt idx="21">
                  <c:v>0.91575714285714305</c:v>
                </c:pt>
                <c:pt idx="22">
                  <c:v>0.939264285714286</c:v>
                </c:pt>
                <c:pt idx="23">
                  <c:v>1.06183571428571</c:v>
                </c:pt>
                <c:pt idx="24">
                  <c:v>1.07649285714286</c:v>
                </c:pt>
                <c:pt idx="25">
                  <c:v>1.0184142857142899</c:v>
                </c:pt>
                <c:pt idx="26">
                  <c:v>1.07337142857143</c:v>
                </c:pt>
                <c:pt idx="27">
                  <c:v>1.0004142857142899</c:v>
                </c:pt>
                <c:pt idx="28">
                  <c:v>1.032</c:v>
                </c:pt>
                <c:pt idx="29">
                  <c:v>1.0340428571428599</c:v>
                </c:pt>
                <c:pt idx="30">
                  <c:v>1.01476428571429</c:v>
                </c:pt>
                <c:pt idx="31">
                  <c:v>1.00217142857143</c:v>
                </c:pt>
                <c:pt idx="32">
                  <c:v>0.96631428571428601</c:v>
                </c:pt>
                <c:pt idx="33">
                  <c:v>1.01248571428571</c:v>
                </c:pt>
                <c:pt idx="34">
                  <c:v>0.989614285714286</c:v>
                </c:pt>
                <c:pt idx="35">
                  <c:v>0.92330000000000001</c:v>
                </c:pt>
                <c:pt idx="36">
                  <c:v>0.99849285714285696</c:v>
                </c:pt>
                <c:pt idx="37">
                  <c:v>0.99675714285714301</c:v>
                </c:pt>
                <c:pt idx="38">
                  <c:v>1.0165999999999999</c:v>
                </c:pt>
                <c:pt idx="39">
                  <c:v>1.02599285714286</c:v>
                </c:pt>
                <c:pt idx="40">
                  <c:v>0.96415714285714305</c:v>
                </c:pt>
                <c:pt idx="41">
                  <c:v>0.95928571428571396</c:v>
                </c:pt>
                <c:pt idx="42">
                  <c:v>1.01734285714286</c:v>
                </c:pt>
                <c:pt idx="43">
                  <c:v>0.96735000000000004</c:v>
                </c:pt>
                <c:pt idx="44">
                  <c:v>0.958271428571429</c:v>
                </c:pt>
                <c:pt idx="45">
                  <c:v>0.988471428571429</c:v>
                </c:pt>
                <c:pt idx="46">
                  <c:v>0.98577857142857095</c:v>
                </c:pt>
                <c:pt idx="47">
                  <c:v>0.94812857142857099</c:v>
                </c:pt>
                <c:pt idx="48">
                  <c:v>0.93933571428571405</c:v>
                </c:pt>
                <c:pt idx="49">
                  <c:v>0.82241428571428599</c:v>
                </c:pt>
                <c:pt idx="50">
                  <c:v>0.89084285714285705</c:v>
                </c:pt>
                <c:pt idx="51">
                  <c:v>0.892007142857143</c:v>
                </c:pt>
                <c:pt idx="52">
                  <c:v>0.87532142857142903</c:v>
                </c:pt>
                <c:pt idx="53">
                  <c:v>0.8536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CBE-4C31-91CF-C4077B3E7224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0.79305714285714302</c:v>
                </c:pt>
                <c:pt idx="1">
                  <c:v>0.81862142857142906</c:v>
                </c:pt>
                <c:pt idx="2">
                  <c:v>0.827364285714286</c:v>
                </c:pt>
                <c:pt idx="3">
                  <c:v>0.80755714285714297</c:v>
                </c:pt>
                <c:pt idx="4">
                  <c:v>0.833364285714286</c:v>
                </c:pt>
                <c:pt idx="5">
                  <c:v>0.82674999999999998</c:v>
                </c:pt>
                <c:pt idx="6">
                  <c:v>0.80797857142857099</c:v>
                </c:pt>
                <c:pt idx="7">
                  <c:v>0.86790714285714299</c:v>
                </c:pt>
                <c:pt idx="8">
                  <c:v>0.84789999999999999</c:v>
                </c:pt>
                <c:pt idx="9">
                  <c:v>0.85173571428571404</c:v>
                </c:pt>
                <c:pt idx="10">
                  <c:v>0.85102857142857102</c:v>
                </c:pt>
                <c:pt idx="11">
                  <c:v>0.82006428571428602</c:v>
                </c:pt>
                <c:pt idx="12">
                  <c:v>0.86950000000000005</c:v>
                </c:pt>
                <c:pt idx="13">
                  <c:v>0.883192857142857</c:v>
                </c:pt>
                <c:pt idx="14">
                  <c:v>0.98134999999999994</c:v>
                </c:pt>
                <c:pt idx="15">
                  <c:v>0.898057142857143</c:v>
                </c:pt>
                <c:pt idx="16">
                  <c:v>0.93149999999999999</c:v>
                </c:pt>
                <c:pt idx="17">
                  <c:v>0.86914285714285699</c:v>
                </c:pt>
                <c:pt idx="18">
                  <c:v>0.91459285714285699</c:v>
                </c:pt>
                <c:pt idx="19">
                  <c:v>0.95951428571428599</c:v>
                </c:pt>
                <c:pt idx="20">
                  <c:v>1.0148928571428599</c:v>
                </c:pt>
                <c:pt idx="21">
                  <c:v>0.91575714285714305</c:v>
                </c:pt>
                <c:pt idx="22">
                  <c:v>0.939264285714286</c:v>
                </c:pt>
                <c:pt idx="23">
                  <c:v>1.06183571428571</c:v>
                </c:pt>
                <c:pt idx="24">
                  <c:v>1.07649285714286</c:v>
                </c:pt>
                <c:pt idx="25">
                  <c:v>1.0184142857142899</c:v>
                </c:pt>
                <c:pt idx="26">
                  <c:v>1.38755714285714</c:v>
                </c:pt>
                <c:pt idx="27">
                  <c:v>1.1837142857142899</c:v>
                </c:pt>
                <c:pt idx="28">
                  <c:v>1.0848500000000001</c:v>
                </c:pt>
                <c:pt idx="29">
                  <c:v>1.0805714285714301</c:v>
                </c:pt>
                <c:pt idx="30">
                  <c:v>1.1078285714285701</c:v>
                </c:pt>
                <c:pt idx="31">
                  <c:v>1.0691928571428599</c:v>
                </c:pt>
                <c:pt idx="32">
                  <c:v>1.0532857142857099</c:v>
                </c:pt>
                <c:pt idx="33">
                  <c:v>1.07392857142857</c:v>
                </c:pt>
                <c:pt idx="34">
                  <c:v>1.04781428571429</c:v>
                </c:pt>
                <c:pt idx="35">
                  <c:v>0.95354285714285703</c:v>
                </c:pt>
                <c:pt idx="36">
                  <c:v>1.0290999999999999</c:v>
                </c:pt>
                <c:pt idx="37">
                  <c:v>1.02640714285714</c:v>
                </c:pt>
                <c:pt idx="38">
                  <c:v>1.0328928571428599</c:v>
                </c:pt>
                <c:pt idx="39">
                  <c:v>1.04895</c:v>
                </c:pt>
                <c:pt idx="40">
                  <c:v>0.98228571428571398</c:v>
                </c:pt>
                <c:pt idx="41">
                  <c:v>0.97816428571428604</c:v>
                </c:pt>
                <c:pt idx="42">
                  <c:v>1.0349428571428601</c:v>
                </c:pt>
                <c:pt idx="43">
                  <c:v>0.992807142857143</c:v>
                </c:pt>
                <c:pt idx="44">
                  <c:v>0.99154285714285695</c:v>
                </c:pt>
                <c:pt idx="45">
                  <c:v>1.0384</c:v>
                </c:pt>
                <c:pt idx="46">
                  <c:v>1.0103285714285699</c:v>
                </c:pt>
                <c:pt idx="47">
                  <c:v>0.96577857142857104</c:v>
                </c:pt>
                <c:pt idx="48">
                  <c:v>0.95602857142857101</c:v>
                </c:pt>
                <c:pt idx="49">
                  <c:v>0.83815714285714304</c:v>
                </c:pt>
                <c:pt idx="50">
                  <c:v>0.906678571428571</c:v>
                </c:pt>
                <c:pt idx="51">
                  <c:v>0.90687142857142899</c:v>
                </c:pt>
                <c:pt idx="52">
                  <c:v>0.89020714285714297</c:v>
                </c:pt>
                <c:pt idx="53">
                  <c:v>0.867783333333333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CBE-4C31-91CF-C4077B3E72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90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2.400000000000000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57322175732216E-2"/>
          <c:y val="5.7585825027685493E-2"/>
          <c:w val="0.95648535564853554"/>
          <c:h val="0.884828349944629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.36200317522213E-2</c:v>
                </c:pt>
                <c:pt idx="1">
                  <c:v>1.3592178926552101E-2</c:v>
                </c:pt>
                <c:pt idx="2">
                  <c:v>9.4699607275158092E-3</c:v>
                </c:pt>
                <c:pt idx="3">
                  <c:v>8.3837005264183993E-3</c:v>
                </c:pt>
                <c:pt idx="4">
                  <c:v>9.1078739938166703E-3</c:v>
                </c:pt>
                <c:pt idx="5">
                  <c:v>1.52076428153636E-2</c:v>
                </c:pt>
                <c:pt idx="6">
                  <c:v>8.6343759574408797E-3</c:v>
                </c:pt>
                <c:pt idx="7">
                  <c:v>1.02776926719216E-2</c:v>
                </c:pt>
                <c:pt idx="8">
                  <c:v>8.4394061777567295E-3</c:v>
                </c:pt>
                <c:pt idx="9">
                  <c:v>5.3477425284795101E-3</c:v>
                </c:pt>
                <c:pt idx="10">
                  <c:v>6.2947386012310903E-3</c:v>
                </c:pt>
                <c:pt idx="11">
                  <c:v>9.2471381221624904E-3</c:v>
                </c:pt>
                <c:pt idx="12">
                  <c:v>8.91290421413252E-3</c:v>
                </c:pt>
                <c:pt idx="13">
                  <c:v>7.3252931509901701E-3</c:v>
                </c:pt>
                <c:pt idx="14">
                  <c:v>7.7152327103584698E-3</c:v>
                </c:pt>
                <c:pt idx="15">
                  <c:v>9.5256663788541307E-3</c:v>
                </c:pt>
                <c:pt idx="16">
                  <c:v>1.16424811297106E-2</c:v>
                </c:pt>
                <c:pt idx="17">
                  <c:v>1.8884215803693299E-2</c:v>
                </c:pt>
                <c:pt idx="18">
                  <c:v>2.0388268389828101E-2</c:v>
                </c:pt>
                <c:pt idx="19">
                  <c:v>1.63496086677993E-2</c:v>
                </c:pt>
                <c:pt idx="20">
                  <c:v>1.39542656602512E-2</c:v>
                </c:pt>
                <c:pt idx="21">
                  <c:v>1.46784391276495E-2</c:v>
                </c:pt>
                <c:pt idx="22">
                  <c:v>1.4594880650642E-2</c:v>
                </c:pt>
                <c:pt idx="23">
                  <c:v>1.4204941091273701E-2</c:v>
                </c:pt>
                <c:pt idx="24">
                  <c:v>3.4788179260785999E-2</c:v>
                </c:pt>
                <c:pt idx="25">
                  <c:v>7.9102024900426102E-2</c:v>
                </c:pt>
                <c:pt idx="26">
                  <c:v>0.30961201013842898</c:v>
                </c:pt>
                <c:pt idx="27">
                  <c:v>0.11603487173773799</c:v>
                </c:pt>
                <c:pt idx="28">
                  <c:v>4.53165473637301E-2</c:v>
                </c:pt>
                <c:pt idx="29">
                  <c:v>3.0303874328050599E-2</c:v>
                </c:pt>
                <c:pt idx="30">
                  <c:v>7.1442497841405994E-2</c:v>
                </c:pt>
                <c:pt idx="31">
                  <c:v>5.1611285964961097E-2</c:v>
                </c:pt>
                <c:pt idx="32">
                  <c:v>4.7461214940255701E-2</c:v>
                </c:pt>
                <c:pt idx="33">
                  <c:v>2.6432331560036802E-2</c:v>
                </c:pt>
                <c:pt idx="34">
                  <c:v>2.63209202573601E-2</c:v>
                </c:pt>
                <c:pt idx="35">
                  <c:v>1.27844469821463E-2</c:v>
                </c:pt>
                <c:pt idx="36">
                  <c:v>9.6927833328691194E-3</c:v>
                </c:pt>
                <c:pt idx="37">
                  <c:v>1.5096231512687E-2</c:v>
                </c:pt>
                <c:pt idx="38">
                  <c:v>7.5759685820126496E-3</c:v>
                </c:pt>
                <c:pt idx="39">
                  <c:v>1.0723337882628199E-2</c:v>
                </c:pt>
                <c:pt idx="40">
                  <c:v>1.0695485056958999E-2</c:v>
                </c:pt>
                <c:pt idx="41">
                  <c:v>7.3252931509901701E-3</c:v>
                </c:pt>
                <c:pt idx="42">
                  <c:v>7.1581761969751797E-3</c:v>
                </c:pt>
                <c:pt idx="43">
                  <c:v>8.8571985627942003E-3</c:v>
                </c:pt>
                <c:pt idx="44">
                  <c:v>1.4177088265604499E-2</c:v>
                </c:pt>
                <c:pt idx="45">
                  <c:v>1.8884215803693299E-2</c:v>
                </c:pt>
                <c:pt idx="46">
                  <c:v>1.64053143191377E-2</c:v>
                </c:pt>
                <c:pt idx="47">
                  <c:v>1.49848202100103E-2</c:v>
                </c:pt>
                <c:pt idx="48">
                  <c:v>9.4421079018466407E-3</c:v>
                </c:pt>
                <c:pt idx="49">
                  <c:v>8.1887307467342595E-3</c:v>
                </c:pt>
                <c:pt idx="50">
                  <c:v>8.4951118290950596E-3</c:v>
                </c:pt>
                <c:pt idx="51">
                  <c:v>5.2920368771411904E-3</c:v>
                </c:pt>
                <c:pt idx="52">
                  <c:v>7.9380553157117808E-3</c:v>
                </c:pt>
                <c:pt idx="53">
                  <c:v>6.1090530967699997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0D3-4032-95CA-8A47AF6B07ED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4.1417151770047102E-2</c:v>
                </c:pt>
                <c:pt idx="1">
                  <c:v>3.3005598417959497E-2</c:v>
                </c:pt>
                <c:pt idx="2">
                  <c:v>3.4314681224410198E-2</c:v>
                </c:pt>
                <c:pt idx="3">
                  <c:v>3.1863632565523797E-2</c:v>
                </c:pt>
                <c:pt idx="4">
                  <c:v>3.2114307996546201E-2</c:v>
                </c:pt>
                <c:pt idx="5">
                  <c:v>3.1334428877809697E-2</c:v>
                </c:pt>
                <c:pt idx="6">
                  <c:v>2.7156505027435E-2</c:v>
                </c:pt>
                <c:pt idx="7">
                  <c:v>3.3534802105673597E-2</c:v>
                </c:pt>
                <c:pt idx="8">
                  <c:v>2.8660557613569899E-2</c:v>
                </c:pt>
                <c:pt idx="9">
                  <c:v>2.9468289557975699E-2</c:v>
                </c:pt>
                <c:pt idx="10">
                  <c:v>2.9106202824276499E-2</c:v>
                </c:pt>
                <c:pt idx="11">
                  <c:v>2.8771968916246601E-2</c:v>
                </c:pt>
                <c:pt idx="12">
                  <c:v>3.0972342144110501E-2</c:v>
                </c:pt>
                <c:pt idx="13">
                  <c:v>3.01924630253739E-2</c:v>
                </c:pt>
                <c:pt idx="14">
                  <c:v>3.3228421023312797E-2</c:v>
                </c:pt>
                <c:pt idx="15">
                  <c:v>3.1863632565523797E-2</c:v>
                </c:pt>
                <c:pt idx="16">
                  <c:v>3.7462050525025797E-2</c:v>
                </c:pt>
                <c:pt idx="17">
                  <c:v>3.4453945352755998E-2</c:v>
                </c:pt>
                <c:pt idx="18">
                  <c:v>3.5679469682199302E-2</c:v>
                </c:pt>
                <c:pt idx="19">
                  <c:v>3.7851990084394098E-2</c:v>
                </c:pt>
                <c:pt idx="20">
                  <c:v>3.8826838982814797E-2</c:v>
                </c:pt>
                <c:pt idx="21">
                  <c:v>3.9439601147536398E-2</c:v>
                </c:pt>
                <c:pt idx="22">
                  <c:v>3.94117483218673E-2</c:v>
                </c:pt>
                <c:pt idx="23">
                  <c:v>4.3366849566888598E-2</c:v>
                </c:pt>
                <c:pt idx="24">
                  <c:v>4.9578029691112198E-2</c:v>
                </c:pt>
                <c:pt idx="25">
                  <c:v>4.9605882516781302E-2</c:v>
                </c:pt>
                <c:pt idx="26">
                  <c:v>0.13815001531905399</c:v>
                </c:pt>
                <c:pt idx="27">
                  <c:v>0.11497646436231</c:v>
                </c:pt>
                <c:pt idx="28">
                  <c:v>0.119516474946383</c:v>
                </c:pt>
                <c:pt idx="29">
                  <c:v>0.18705957719410601</c:v>
                </c:pt>
                <c:pt idx="30">
                  <c:v>0.20193298610144</c:v>
                </c:pt>
                <c:pt idx="31">
                  <c:v>9.5368075091218002E-2</c:v>
                </c:pt>
                <c:pt idx="32">
                  <c:v>0.102554104113862</c:v>
                </c:pt>
                <c:pt idx="33">
                  <c:v>0.10723337882628201</c:v>
                </c:pt>
                <c:pt idx="34">
                  <c:v>0.119655739074729</c:v>
                </c:pt>
                <c:pt idx="35">
                  <c:v>8.8014929114558701E-2</c:v>
                </c:pt>
                <c:pt idx="36">
                  <c:v>9.6537893769322897E-2</c:v>
                </c:pt>
                <c:pt idx="37">
                  <c:v>9.4978135531849694E-2</c:v>
                </c:pt>
                <c:pt idx="38">
                  <c:v>0.117511071498203</c:v>
                </c:pt>
                <c:pt idx="39">
                  <c:v>0.109795838787845</c:v>
                </c:pt>
                <c:pt idx="40">
                  <c:v>0.117260396067181</c:v>
                </c:pt>
                <c:pt idx="41">
                  <c:v>0.12706459070272699</c:v>
                </c:pt>
                <c:pt idx="42">
                  <c:v>0.120602735147481</c:v>
                </c:pt>
                <c:pt idx="43">
                  <c:v>0.111940506364371</c:v>
                </c:pt>
                <c:pt idx="44">
                  <c:v>0.105673620588809</c:v>
                </c:pt>
                <c:pt idx="45">
                  <c:v>0.16352393950366301</c:v>
                </c:pt>
                <c:pt idx="46">
                  <c:v>0.144834693479653</c:v>
                </c:pt>
                <c:pt idx="47">
                  <c:v>0.13294153691891999</c:v>
                </c:pt>
                <c:pt idx="48">
                  <c:v>0.11274823830877601</c:v>
                </c:pt>
                <c:pt idx="49">
                  <c:v>9.4894577054842194E-2</c:v>
                </c:pt>
                <c:pt idx="50">
                  <c:v>0.11324958917082099</c:v>
                </c:pt>
                <c:pt idx="51">
                  <c:v>0.111021363117288</c:v>
                </c:pt>
                <c:pt idx="52">
                  <c:v>9.9657410244269301E-2</c:v>
                </c:pt>
                <c:pt idx="53">
                  <c:v>9.0206018067199606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10D3-4032-95CA-8A47AF6B07ED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5.5037183522268301E-2</c:v>
                </c:pt>
                <c:pt idx="1">
                  <c:v>4.65977773445116E-2</c:v>
                </c:pt>
                <c:pt idx="2">
                  <c:v>4.3784641951926002E-2</c:v>
                </c:pt>
                <c:pt idx="3">
                  <c:v>4.02473330919422E-2</c:v>
                </c:pt>
                <c:pt idx="4">
                  <c:v>4.1222181990362899E-2</c:v>
                </c:pt>
                <c:pt idx="5">
                  <c:v>4.6542071693173301E-2</c:v>
                </c:pt>
                <c:pt idx="6">
                  <c:v>3.57908809848759E-2</c:v>
                </c:pt>
                <c:pt idx="7">
                  <c:v>4.3812494777595197E-2</c:v>
                </c:pt>
                <c:pt idx="8">
                  <c:v>3.7099963791326601E-2</c:v>
                </c:pt>
                <c:pt idx="9">
                  <c:v>3.4816032086455201E-2</c:v>
                </c:pt>
                <c:pt idx="10">
                  <c:v>3.54009414255076E-2</c:v>
                </c:pt>
                <c:pt idx="11">
                  <c:v>3.8019107038409002E-2</c:v>
                </c:pt>
                <c:pt idx="12">
                  <c:v>3.9885246358242997E-2</c:v>
                </c:pt>
                <c:pt idx="13">
                  <c:v>3.7517756176364103E-2</c:v>
                </c:pt>
                <c:pt idx="14">
                  <c:v>4.0943653733671301E-2</c:v>
                </c:pt>
                <c:pt idx="15">
                  <c:v>4.13892989443779E-2</c:v>
                </c:pt>
                <c:pt idx="16">
                  <c:v>4.9104531654736397E-2</c:v>
                </c:pt>
                <c:pt idx="17">
                  <c:v>5.33381611564493E-2</c:v>
                </c:pt>
                <c:pt idx="18">
                  <c:v>5.6067738072027397E-2</c:v>
                </c:pt>
                <c:pt idx="19">
                  <c:v>5.4201598752193401E-2</c:v>
                </c:pt>
                <c:pt idx="20">
                  <c:v>5.2781104643065999E-2</c:v>
                </c:pt>
                <c:pt idx="21">
                  <c:v>5.4118040275185901E-2</c:v>
                </c:pt>
                <c:pt idx="22">
                  <c:v>5.4006628972509303E-2</c:v>
                </c:pt>
                <c:pt idx="23">
                  <c:v>5.75717906581623E-2</c:v>
                </c:pt>
                <c:pt idx="24">
                  <c:v>8.4366208951898197E-2</c:v>
                </c:pt>
                <c:pt idx="25">
                  <c:v>0.128707907417207</c:v>
                </c:pt>
                <c:pt idx="26">
                  <c:v>0.447762025457483</c:v>
                </c:pt>
                <c:pt idx="27">
                  <c:v>0.23101133610004701</c:v>
                </c:pt>
                <c:pt idx="28">
                  <c:v>0.16483302231011299</c:v>
                </c:pt>
                <c:pt idx="29">
                  <c:v>0.217363451522157</c:v>
                </c:pt>
                <c:pt idx="30">
                  <c:v>0.273375483942846</c:v>
                </c:pt>
                <c:pt idx="31">
                  <c:v>0.14697936105617901</c:v>
                </c:pt>
                <c:pt idx="32">
                  <c:v>0.150015319054118</c:v>
                </c:pt>
                <c:pt idx="33">
                  <c:v>0.133665710386319</c:v>
                </c:pt>
                <c:pt idx="34">
                  <c:v>0.145976659332089</c:v>
                </c:pt>
                <c:pt idx="35">
                  <c:v>0.100799376096705</c:v>
                </c:pt>
                <c:pt idx="36">
                  <c:v>0.106230677102192</c:v>
                </c:pt>
                <c:pt idx="37">
                  <c:v>0.11007436704453701</c:v>
                </c:pt>
                <c:pt idx="38">
                  <c:v>0.12508704008021601</c:v>
                </c:pt>
                <c:pt idx="39">
                  <c:v>0.120519176670473</c:v>
                </c:pt>
                <c:pt idx="40">
                  <c:v>0.12795588112414</c:v>
                </c:pt>
                <c:pt idx="41">
                  <c:v>0.134389883853717</c:v>
                </c:pt>
                <c:pt idx="42">
                  <c:v>0.127760911344456</c:v>
                </c:pt>
                <c:pt idx="43">
                  <c:v>0.120797704927165</c:v>
                </c:pt>
                <c:pt idx="44">
                  <c:v>0.119850708854413</c:v>
                </c:pt>
                <c:pt idx="45">
                  <c:v>0.18240815530735599</c:v>
                </c:pt>
                <c:pt idx="46">
                  <c:v>0.161240007798791</c:v>
                </c:pt>
                <c:pt idx="47">
                  <c:v>0.14792635712893101</c:v>
                </c:pt>
                <c:pt idx="48">
                  <c:v>0.122190346210623</c:v>
                </c:pt>
                <c:pt idx="49">
                  <c:v>0.103083307801576</c:v>
                </c:pt>
                <c:pt idx="50">
                  <c:v>0.12174470099991599</c:v>
                </c:pt>
                <c:pt idx="51">
                  <c:v>0.116313399994429</c:v>
                </c:pt>
                <c:pt idx="52">
                  <c:v>0.10759546555998099</c:v>
                </c:pt>
                <c:pt idx="53">
                  <c:v>9.6315071163969604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10D3-4032-95CA-8A47AF6B07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6000000000000000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12080536912751E-2"/>
          <c:y val="5.7522123893805309E-2"/>
          <c:w val="0.9563758389261745"/>
          <c:h val="0.88495575221238942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56382400869092897</c:v>
                </c:pt>
                <c:pt idx="1">
                  <c:v>0.61211012321678704</c:v>
                </c:pt>
                <c:pt idx="2">
                  <c:v>0.54404071014037003</c:v>
                </c:pt>
                <c:pt idx="3">
                  <c:v>0.41564938963378001</c:v>
                </c:pt>
                <c:pt idx="4">
                  <c:v>0.51136396123388295</c:v>
                </c:pt>
                <c:pt idx="5">
                  <c:v>0.74104462677606597</c:v>
                </c:pt>
                <c:pt idx="6">
                  <c:v>0.568541124674805</c:v>
                </c:pt>
                <c:pt idx="7">
                  <c:v>0.58758112010063202</c:v>
                </c:pt>
                <c:pt idx="8">
                  <c:v>0.555276022756511</c:v>
                </c:pt>
                <c:pt idx="9">
                  <c:v>0.51116384116183999</c:v>
                </c:pt>
                <c:pt idx="10">
                  <c:v>0.53452071242745602</c:v>
                </c:pt>
                <c:pt idx="11">
                  <c:v>0.52720203550701805</c:v>
                </c:pt>
                <c:pt idx="12">
                  <c:v>0.51871122673604197</c:v>
                </c:pt>
                <c:pt idx="13">
                  <c:v>0.50441693587581105</c:v>
                </c:pt>
                <c:pt idx="14">
                  <c:v>0.55287458189199201</c:v>
                </c:pt>
                <c:pt idx="15">
                  <c:v>0.61634123331141499</c:v>
                </c:pt>
                <c:pt idx="16">
                  <c:v>0.62265930987163698</c:v>
                </c:pt>
                <c:pt idx="17">
                  <c:v>0.73758540838789</c:v>
                </c:pt>
                <c:pt idx="18">
                  <c:v>0.75894107893307405</c:v>
                </c:pt>
                <c:pt idx="19">
                  <c:v>0.72978072557820395</c:v>
                </c:pt>
                <c:pt idx="20">
                  <c:v>0.69072872294805499</c:v>
                </c:pt>
                <c:pt idx="21">
                  <c:v>0.63126447296949595</c:v>
                </c:pt>
                <c:pt idx="22">
                  <c:v>0.55210269018554003</c:v>
                </c:pt>
                <c:pt idx="23">
                  <c:v>0.68163755396094805</c:v>
                </c:pt>
                <c:pt idx="24">
                  <c:v>0.84670802481488905</c:v>
                </c:pt>
                <c:pt idx="25">
                  <c:v>0.92890019726121398</c:v>
                </c:pt>
                <c:pt idx="26">
                  <c:v>2.2765087624003</c:v>
                </c:pt>
                <c:pt idx="27">
                  <c:v>1.3388318705508999</c:v>
                </c:pt>
                <c:pt idx="28">
                  <c:v>0.68332428028245495</c:v>
                </c:pt>
                <c:pt idx="29">
                  <c:v>0.46170559478544299</c:v>
                </c:pt>
                <c:pt idx="30">
                  <c:v>0.59058292118127997</c:v>
                </c:pt>
                <c:pt idx="31">
                  <c:v>0.48111724177363602</c:v>
                </c:pt>
                <c:pt idx="32">
                  <c:v>0.459418508247806</c:v>
                </c:pt>
                <c:pt idx="33">
                  <c:v>0.36770633808856701</c:v>
                </c:pt>
                <c:pt idx="34">
                  <c:v>0.31401698161754199</c:v>
                </c:pt>
                <c:pt idx="35">
                  <c:v>0.20841076074216</c:v>
                </c:pt>
                <c:pt idx="36">
                  <c:v>0.21261328225506701</c:v>
                </c:pt>
                <c:pt idx="37">
                  <c:v>0.21996054775722601</c:v>
                </c:pt>
                <c:pt idx="38">
                  <c:v>0.15597930186683401</c:v>
                </c:pt>
                <c:pt idx="39">
                  <c:v>0.15666542782812501</c:v>
                </c:pt>
                <c:pt idx="40">
                  <c:v>0.162440321335659</c:v>
                </c:pt>
                <c:pt idx="41">
                  <c:v>0.18736956459590001</c:v>
                </c:pt>
                <c:pt idx="42">
                  <c:v>0.16229737842705599</c:v>
                </c:pt>
                <c:pt idx="43">
                  <c:v>0.15566482746790899</c:v>
                </c:pt>
                <c:pt idx="44">
                  <c:v>0.20335058177763801</c:v>
                </c:pt>
                <c:pt idx="45">
                  <c:v>0.232282226478744</c:v>
                </c:pt>
                <c:pt idx="46">
                  <c:v>0.14340032590983201</c:v>
                </c:pt>
                <c:pt idx="47">
                  <c:v>0.132508076274336</c:v>
                </c:pt>
                <c:pt idx="48">
                  <c:v>0.112438891906573</c:v>
                </c:pt>
                <c:pt idx="49">
                  <c:v>0.10206123674204499</c:v>
                </c:pt>
                <c:pt idx="50">
                  <c:v>0.12098687784099001</c:v>
                </c:pt>
                <c:pt idx="51">
                  <c:v>0.13167900740444299</c:v>
                </c:pt>
                <c:pt idx="52">
                  <c:v>0.14431516052488599</c:v>
                </c:pt>
                <c:pt idx="53">
                  <c:v>0.12574211193382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03B-4BE6-AB89-64D96016482D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3.7270076331513202</c:v>
                </c:pt>
                <c:pt idx="1">
                  <c:v>3.9094313731095802</c:v>
                </c:pt>
                <c:pt idx="2">
                  <c:v>4.01283627319249</c:v>
                </c:pt>
                <c:pt idx="3">
                  <c:v>4.0056891277623698</c:v>
                </c:pt>
                <c:pt idx="4">
                  <c:v>4.14068441064639</c:v>
                </c:pt>
                <c:pt idx="5">
                  <c:v>5.2574401783927502</c:v>
                </c:pt>
                <c:pt idx="6">
                  <c:v>3.8881614683095602</c:v>
                </c:pt>
                <c:pt idx="7">
                  <c:v>4.2550959146916698</c:v>
                </c:pt>
                <c:pt idx="8">
                  <c:v>4.4572457760370501</c:v>
                </c:pt>
                <c:pt idx="9">
                  <c:v>4.2518082277938198</c:v>
                </c:pt>
                <c:pt idx="10">
                  <c:v>4.2025786900711903</c:v>
                </c:pt>
                <c:pt idx="11">
                  <c:v>4.1058063409474297</c:v>
                </c:pt>
                <c:pt idx="12">
                  <c:v>4.2404871494325196</c:v>
                </c:pt>
                <c:pt idx="13">
                  <c:v>4.2693616169701798</c:v>
                </c:pt>
                <c:pt idx="14">
                  <c:v>4.9966837245204303</c:v>
                </c:pt>
                <c:pt idx="15">
                  <c:v>4.2840561479744999</c:v>
                </c:pt>
                <c:pt idx="16">
                  <c:v>4.3261957174304602</c:v>
                </c:pt>
                <c:pt idx="17">
                  <c:v>4.0951427999656902</c:v>
                </c:pt>
                <c:pt idx="18">
                  <c:v>4.2110694988421598</c:v>
                </c:pt>
                <c:pt idx="19">
                  <c:v>4.3556705451842497</c:v>
                </c:pt>
                <c:pt idx="20">
                  <c:v>4.3273392606992802</c:v>
                </c:pt>
                <c:pt idx="21">
                  <c:v>3.9383916063924098</c:v>
                </c:pt>
                <c:pt idx="22">
                  <c:v>3.8886474741988</c:v>
                </c:pt>
                <c:pt idx="23">
                  <c:v>4.4581034334886596</c:v>
                </c:pt>
                <c:pt idx="24">
                  <c:v>4.2477200606077901</c:v>
                </c:pt>
                <c:pt idx="25">
                  <c:v>3.84153349152349</c:v>
                </c:pt>
                <c:pt idx="26">
                  <c:v>3.53806569656079</c:v>
                </c:pt>
                <c:pt idx="27">
                  <c:v>3.35527030504017</c:v>
                </c:pt>
                <c:pt idx="28">
                  <c:v>3.7204322593556101</c:v>
                </c:pt>
                <c:pt idx="29">
                  <c:v>3.6470453700791898</c:v>
                </c:pt>
                <c:pt idx="30">
                  <c:v>3.6068784127619402</c:v>
                </c:pt>
                <c:pt idx="31">
                  <c:v>3.6003888047113999</c:v>
                </c:pt>
                <c:pt idx="32">
                  <c:v>3.5314331456016501</c:v>
                </c:pt>
                <c:pt idx="33">
                  <c:v>3.5799193801995499</c:v>
                </c:pt>
                <c:pt idx="34">
                  <c:v>3.3873466937305201</c:v>
                </c:pt>
                <c:pt idx="35">
                  <c:v>3.16129677806684</c:v>
                </c:pt>
                <c:pt idx="36">
                  <c:v>3.3684210526315801</c:v>
                </c:pt>
                <c:pt idx="37">
                  <c:v>3.2750221561508299</c:v>
                </c:pt>
                <c:pt idx="38">
                  <c:v>3.3542411160982302</c:v>
                </c:pt>
                <c:pt idx="39">
                  <c:v>3.2957488778981698</c:v>
                </c:pt>
                <c:pt idx="40">
                  <c:v>3.2027788101432302</c:v>
                </c:pt>
                <c:pt idx="41">
                  <c:v>3.1613539552302798</c:v>
                </c:pt>
                <c:pt idx="42">
                  <c:v>3.3106435289745302</c:v>
                </c:pt>
                <c:pt idx="43">
                  <c:v>3.1921438577432202</c:v>
                </c:pt>
                <c:pt idx="44">
                  <c:v>3.1756768346722302</c:v>
                </c:pt>
                <c:pt idx="45">
                  <c:v>3.3129020269304399</c:v>
                </c:pt>
                <c:pt idx="46">
                  <c:v>3.4087309528574301</c:v>
                </c:pt>
                <c:pt idx="47">
                  <c:v>3.3061265330626899</c:v>
                </c:pt>
                <c:pt idx="48">
                  <c:v>3.2327110552045499</c:v>
                </c:pt>
                <c:pt idx="49">
                  <c:v>2.9068298121730201</c:v>
                </c:pt>
                <c:pt idx="50">
                  <c:v>2.9876497326967599</c:v>
                </c:pt>
                <c:pt idx="51">
                  <c:v>2.9697818691214701</c:v>
                </c:pt>
                <c:pt idx="52">
                  <c:v>3.14525858372166</c:v>
                </c:pt>
                <c:pt idx="53">
                  <c:v>3.34360616369822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03B-4BE6-AB89-64D96016482D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4.2908316418422503</c:v>
                </c:pt>
                <c:pt idx="1">
                  <c:v>4.5215414963263703</c:v>
                </c:pt>
                <c:pt idx="2">
                  <c:v>4.5568769833328604</c:v>
                </c:pt>
                <c:pt idx="3">
                  <c:v>4.4213385173961504</c:v>
                </c:pt>
                <c:pt idx="4">
                  <c:v>4.6520483718802703</c:v>
                </c:pt>
                <c:pt idx="5">
                  <c:v>5.99848480516882</c:v>
                </c:pt>
                <c:pt idx="6">
                  <c:v>4.4567025929843602</c:v>
                </c:pt>
                <c:pt idx="7">
                  <c:v>4.8426770347922998</c:v>
                </c:pt>
                <c:pt idx="8">
                  <c:v>5.0125217987935597</c:v>
                </c:pt>
                <c:pt idx="9">
                  <c:v>4.7629720689556603</c:v>
                </c:pt>
                <c:pt idx="10">
                  <c:v>4.7370994024986404</c:v>
                </c:pt>
                <c:pt idx="11">
                  <c:v>4.6330083764544403</c:v>
                </c:pt>
                <c:pt idx="12">
                  <c:v>4.7591983761685599</c:v>
                </c:pt>
                <c:pt idx="13">
                  <c:v>4.7737785528459904</c:v>
                </c:pt>
                <c:pt idx="14">
                  <c:v>5.5495583064124201</c:v>
                </c:pt>
                <c:pt idx="15">
                  <c:v>4.9003973812859103</c:v>
                </c:pt>
                <c:pt idx="16">
                  <c:v>4.9488550273021001</c:v>
                </c:pt>
                <c:pt idx="17">
                  <c:v>4.8327282083535801</c:v>
                </c:pt>
                <c:pt idx="18">
                  <c:v>4.9700105777752404</c:v>
                </c:pt>
                <c:pt idx="19">
                  <c:v>5.0854512707624604</c:v>
                </c:pt>
                <c:pt idx="20">
                  <c:v>5.0180679836473301</c:v>
                </c:pt>
                <c:pt idx="21">
                  <c:v>4.5696560793619003</c:v>
                </c:pt>
                <c:pt idx="22">
                  <c:v>4.4407501643843403</c:v>
                </c:pt>
                <c:pt idx="23">
                  <c:v>5.1397409874496098</c:v>
                </c:pt>
                <c:pt idx="24">
                  <c:v>5.0944280854226802</c:v>
                </c:pt>
                <c:pt idx="25">
                  <c:v>4.7704336887847001</c:v>
                </c:pt>
                <c:pt idx="26">
                  <c:v>5.8145744589610899</c:v>
                </c:pt>
                <c:pt idx="27">
                  <c:v>4.6941021755910697</c:v>
                </c:pt>
                <c:pt idx="28">
                  <c:v>4.4037565396380698</c:v>
                </c:pt>
                <c:pt idx="29">
                  <c:v>4.1087509648646297</c:v>
                </c:pt>
                <c:pt idx="30">
                  <c:v>4.1974613339432203</c:v>
                </c:pt>
                <c:pt idx="31">
                  <c:v>4.0815060464850301</c:v>
                </c:pt>
                <c:pt idx="32">
                  <c:v>3.9908516538494498</c:v>
                </c:pt>
                <c:pt idx="33">
                  <c:v>3.94762571828812</c:v>
                </c:pt>
                <c:pt idx="34">
                  <c:v>3.7013636753480701</c:v>
                </c:pt>
                <c:pt idx="35">
                  <c:v>3.3697075388090001</c:v>
                </c:pt>
                <c:pt idx="36">
                  <c:v>3.5810343348866498</c:v>
                </c:pt>
                <c:pt idx="37">
                  <c:v>3.4949827039080601</c:v>
                </c:pt>
                <c:pt idx="38">
                  <c:v>3.5102204179650598</c:v>
                </c:pt>
                <c:pt idx="39">
                  <c:v>3.4524143057262902</c:v>
                </c:pt>
                <c:pt idx="40">
                  <c:v>3.3652191314788902</c:v>
                </c:pt>
                <c:pt idx="41">
                  <c:v>3.34872351982618</c:v>
                </c:pt>
                <c:pt idx="42">
                  <c:v>3.47294090740158</c:v>
                </c:pt>
                <c:pt idx="43">
                  <c:v>3.3478086852111302</c:v>
                </c:pt>
                <c:pt idx="44">
                  <c:v>3.3790274164498699</c:v>
                </c:pt>
                <c:pt idx="45">
                  <c:v>3.54518425340919</c:v>
                </c:pt>
                <c:pt idx="46">
                  <c:v>3.5521312787672601</c:v>
                </c:pt>
                <c:pt idx="47">
                  <c:v>3.4386346093370301</c:v>
                </c:pt>
                <c:pt idx="48">
                  <c:v>3.3451499471111199</c:v>
                </c:pt>
                <c:pt idx="49">
                  <c:v>3.0088910489150602</c:v>
                </c:pt>
                <c:pt idx="50">
                  <c:v>3.1086366105377499</c:v>
                </c:pt>
                <c:pt idx="51">
                  <c:v>3.1014608765259202</c:v>
                </c:pt>
                <c:pt idx="52">
                  <c:v>3.28957374424655</c:v>
                </c:pt>
                <c:pt idx="53">
                  <c:v>3.46934827563205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C03B-4BE6-AB89-64D9601648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57322175732216E-2"/>
          <c:y val="5.7585825027685493E-2"/>
          <c:w val="0.95648535564853554"/>
          <c:h val="0.884828349944629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239485714285714</c:v>
                </c:pt>
                <c:pt idx="27">
                  <c:v>0.143971428571429</c:v>
                </c:pt>
                <c:pt idx="28">
                  <c:v>2.0657142857142902E-2</c:v>
                </c:pt>
                <c:pt idx="29">
                  <c:v>3.5657142857142901E-2</c:v>
                </c:pt>
                <c:pt idx="30">
                  <c:v>9.1457142857142903E-2</c:v>
                </c:pt>
                <c:pt idx="31">
                  <c:v>5.7542857142857097E-2</c:v>
                </c:pt>
                <c:pt idx="32">
                  <c:v>5.41714285714286E-2</c:v>
                </c:pt>
                <c:pt idx="33">
                  <c:v>4.5199999999999997E-2</c:v>
                </c:pt>
                <c:pt idx="34">
                  <c:v>5.4342857142857103E-2</c:v>
                </c:pt>
                <c:pt idx="35">
                  <c:v>3.1457142857142899E-2</c:v>
                </c:pt>
                <c:pt idx="36">
                  <c:v>4.0914285714285702E-2</c:v>
                </c:pt>
                <c:pt idx="37">
                  <c:v>3.2257142857142901E-2</c:v>
                </c:pt>
                <c:pt idx="38">
                  <c:v>2.36857142857143E-2</c:v>
                </c:pt>
                <c:pt idx="39">
                  <c:v>4.02E-2</c:v>
                </c:pt>
                <c:pt idx="40">
                  <c:v>2.6599999999999999E-2</c:v>
                </c:pt>
                <c:pt idx="41">
                  <c:v>3.2399999999999998E-2</c:v>
                </c:pt>
                <c:pt idx="42">
                  <c:v>3.2885714285714303E-2</c:v>
                </c:pt>
                <c:pt idx="43">
                  <c:v>4.96571428571429E-2</c:v>
                </c:pt>
                <c:pt idx="44">
                  <c:v>5.4342857142857103E-2</c:v>
                </c:pt>
                <c:pt idx="45">
                  <c:v>7.3057142857142904E-2</c:v>
                </c:pt>
                <c:pt idx="46">
                  <c:v>3.3399999999999999E-2</c:v>
                </c:pt>
                <c:pt idx="47">
                  <c:v>2.5228571428571399E-2</c:v>
                </c:pt>
                <c:pt idx="48">
                  <c:v>2.4371428571428599E-2</c:v>
                </c:pt>
                <c:pt idx="49">
                  <c:v>3.6114285714285703E-2</c:v>
                </c:pt>
                <c:pt idx="50">
                  <c:v>3.4514285714285699E-2</c:v>
                </c:pt>
                <c:pt idx="51">
                  <c:v>3.1971428571428602E-2</c:v>
                </c:pt>
                <c:pt idx="52">
                  <c:v>3.3485714285714299E-2</c:v>
                </c:pt>
                <c:pt idx="53">
                  <c:v>2.8933333333333301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7F5-477D-A970-E3FBB1FEA869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1.8742857142857099E-2</c:v>
                </c:pt>
                <c:pt idx="1">
                  <c:v>1.7914285714285699E-2</c:v>
                </c:pt>
                <c:pt idx="2">
                  <c:v>1.5771428571428599E-2</c:v>
                </c:pt>
                <c:pt idx="3">
                  <c:v>1.54E-2</c:v>
                </c:pt>
                <c:pt idx="4">
                  <c:v>1.60857142857143E-2</c:v>
                </c:pt>
                <c:pt idx="5">
                  <c:v>1.4628571428571401E-2</c:v>
                </c:pt>
                <c:pt idx="6">
                  <c:v>1.39142857142857E-2</c:v>
                </c:pt>
                <c:pt idx="7">
                  <c:v>1.6571428571428602E-2</c:v>
                </c:pt>
                <c:pt idx="8">
                  <c:v>1.54E-2</c:v>
                </c:pt>
                <c:pt idx="9">
                  <c:v>1.55428571428571E-2</c:v>
                </c:pt>
                <c:pt idx="10">
                  <c:v>1.51428571428571E-2</c:v>
                </c:pt>
                <c:pt idx="11">
                  <c:v>1.4742857142857099E-2</c:v>
                </c:pt>
                <c:pt idx="12">
                  <c:v>1.5971428571428602E-2</c:v>
                </c:pt>
                <c:pt idx="13">
                  <c:v>1.54E-2</c:v>
                </c:pt>
                <c:pt idx="14">
                  <c:v>1.6542857142857099E-2</c:v>
                </c:pt>
                <c:pt idx="15">
                  <c:v>1.8371428571428601E-2</c:v>
                </c:pt>
                <c:pt idx="16">
                  <c:v>2.0257142857142901E-2</c:v>
                </c:pt>
                <c:pt idx="17">
                  <c:v>1.63428571428571E-2</c:v>
                </c:pt>
                <c:pt idx="18">
                  <c:v>1.8200000000000001E-2</c:v>
                </c:pt>
                <c:pt idx="19">
                  <c:v>1.9714285714285702E-2</c:v>
                </c:pt>
                <c:pt idx="20">
                  <c:v>2.11142857142857E-2</c:v>
                </c:pt>
                <c:pt idx="21">
                  <c:v>2.1942857142857101E-2</c:v>
                </c:pt>
                <c:pt idx="22">
                  <c:v>2.1171428571428601E-2</c:v>
                </c:pt>
                <c:pt idx="23">
                  <c:v>2.4285714285714299E-2</c:v>
                </c:pt>
                <c:pt idx="24">
                  <c:v>3.0028571428571401E-2</c:v>
                </c:pt>
                <c:pt idx="25">
                  <c:v>3.5914285714285697E-2</c:v>
                </c:pt>
                <c:pt idx="26">
                  <c:v>0.20091428571428599</c:v>
                </c:pt>
                <c:pt idx="27">
                  <c:v>0.212914285714286</c:v>
                </c:pt>
                <c:pt idx="28">
                  <c:v>0.179057142857143</c:v>
                </c:pt>
                <c:pt idx="29">
                  <c:v>0.19197142857142899</c:v>
                </c:pt>
                <c:pt idx="30">
                  <c:v>0.20971428571428599</c:v>
                </c:pt>
                <c:pt idx="31">
                  <c:v>0.21902857142857099</c:v>
                </c:pt>
                <c:pt idx="32">
                  <c:v>0.25408571428571403</c:v>
                </c:pt>
                <c:pt idx="33">
                  <c:v>0.25334285714285698</c:v>
                </c:pt>
                <c:pt idx="34">
                  <c:v>0.23322857142857101</c:v>
                </c:pt>
                <c:pt idx="35">
                  <c:v>0.17985714285714299</c:v>
                </c:pt>
                <c:pt idx="36">
                  <c:v>0.201257142857143</c:v>
                </c:pt>
                <c:pt idx="37">
                  <c:v>0.24379999999999999</c:v>
                </c:pt>
                <c:pt idx="38">
                  <c:v>0.25554285714285702</c:v>
                </c:pt>
                <c:pt idx="39">
                  <c:v>0.21268571428571401</c:v>
                </c:pt>
                <c:pt idx="40">
                  <c:v>0.219</c:v>
                </c:pt>
                <c:pt idx="41">
                  <c:v>0.25377142857142898</c:v>
                </c:pt>
                <c:pt idx="42">
                  <c:v>0.229371428571429</c:v>
                </c:pt>
                <c:pt idx="43">
                  <c:v>0.23591428571428599</c:v>
                </c:pt>
                <c:pt idx="44">
                  <c:v>0.202828571428571</c:v>
                </c:pt>
                <c:pt idx="45">
                  <c:v>0.242114285714286</c:v>
                </c:pt>
                <c:pt idx="46">
                  <c:v>0.220085714285714</c:v>
                </c:pt>
                <c:pt idx="47">
                  <c:v>0.228028571428571</c:v>
                </c:pt>
                <c:pt idx="48">
                  <c:v>0.19020000000000001</c:v>
                </c:pt>
                <c:pt idx="49">
                  <c:v>0.16882857142857099</c:v>
                </c:pt>
                <c:pt idx="50">
                  <c:v>0.18988571428571399</c:v>
                </c:pt>
                <c:pt idx="51">
                  <c:v>0.19568571428571399</c:v>
                </c:pt>
                <c:pt idx="52">
                  <c:v>0.182914285714286</c:v>
                </c:pt>
                <c:pt idx="53">
                  <c:v>0.165666666666666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7F5-477D-A970-E3FBB1FEA869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1.8742857142857099E-2</c:v>
                </c:pt>
                <c:pt idx="1">
                  <c:v>1.7914285714285699E-2</c:v>
                </c:pt>
                <c:pt idx="2">
                  <c:v>1.5771428571428599E-2</c:v>
                </c:pt>
                <c:pt idx="3">
                  <c:v>1.54E-2</c:v>
                </c:pt>
                <c:pt idx="4">
                  <c:v>1.60857142857143E-2</c:v>
                </c:pt>
                <c:pt idx="5">
                  <c:v>1.4628571428571401E-2</c:v>
                </c:pt>
                <c:pt idx="6">
                  <c:v>1.39142857142857E-2</c:v>
                </c:pt>
                <c:pt idx="7">
                  <c:v>1.6571428571428602E-2</c:v>
                </c:pt>
                <c:pt idx="8">
                  <c:v>1.54E-2</c:v>
                </c:pt>
                <c:pt idx="9">
                  <c:v>1.55428571428571E-2</c:v>
                </c:pt>
                <c:pt idx="10">
                  <c:v>1.51428571428571E-2</c:v>
                </c:pt>
                <c:pt idx="11">
                  <c:v>1.4742857142857099E-2</c:v>
                </c:pt>
                <c:pt idx="12">
                  <c:v>1.5971428571428602E-2</c:v>
                </c:pt>
                <c:pt idx="13">
                  <c:v>1.54E-2</c:v>
                </c:pt>
                <c:pt idx="14">
                  <c:v>1.6542857142857099E-2</c:v>
                </c:pt>
                <c:pt idx="15">
                  <c:v>1.8371428571428601E-2</c:v>
                </c:pt>
                <c:pt idx="16">
                  <c:v>2.0257142857142901E-2</c:v>
                </c:pt>
                <c:pt idx="17">
                  <c:v>1.63428571428571E-2</c:v>
                </c:pt>
                <c:pt idx="18">
                  <c:v>1.8200000000000001E-2</c:v>
                </c:pt>
                <c:pt idx="19">
                  <c:v>1.9714285714285702E-2</c:v>
                </c:pt>
                <c:pt idx="20">
                  <c:v>2.11142857142857E-2</c:v>
                </c:pt>
                <c:pt idx="21">
                  <c:v>2.1942857142857101E-2</c:v>
                </c:pt>
                <c:pt idx="22">
                  <c:v>2.1171428571428601E-2</c:v>
                </c:pt>
                <c:pt idx="23">
                  <c:v>2.4285714285714299E-2</c:v>
                </c:pt>
                <c:pt idx="24">
                  <c:v>3.0028571428571401E-2</c:v>
                </c:pt>
                <c:pt idx="25">
                  <c:v>3.5914285714285697E-2</c:v>
                </c:pt>
                <c:pt idx="26">
                  <c:v>0.44040000000000001</c:v>
                </c:pt>
                <c:pt idx="27">
                  <c:v>0.35688571428571397</c:v>
                </c:pt>
                <c:pt idx="28">
                  <c:v>0.19971428571428601</c:v>
                </c:pt>
                <c:pt idx="29">
                  <c:v>0.22762857142857101</c:v>
                </c:pt>
                <c:pt idx="30">
                  <c:v>0.30117142857142898</c:v>
                </c:pt>
                <c:pt idx="31">
                  <c:v>0.27657142857142902</c:v>
                </c:pt>
                <c:pt idx="32">
                  <c:v>0.30825714285714301</c:v>
                </c:pt>
                <c:pt idx="33">
                  <c:v>0.298542857142857</c:v>
                </c:pt>
                <c:pt idx="34">
                  <c:v>0.28757142857142898</c:v>
                </c:pt>
                <c:pt idx="35">
                  <c:v>0.21131428571428601</c:v>
                </c:pt>
                <c:pt idx="36">
                  <c:v>0.24217142857142901</c:v>
                </c:pt>
                <c:pt idx="37">
                  <c:v>0.276057142857143</c:v>
                </c:pt>
                <c:pt idx="38">
                  <c:v>0.27922857142857099</c:v>
                </c:pt>
                <c:pt idx="39">
                  <c:v>0.25288571428571399</c:v>
                </c:pt>
                <c:pt idx="40">
                  <c:v>0.24560000000000001</c:v>
                </c:pt>
                <c:pt idx="41">
                  <c:v>0.28617142857142902</c:v>
                </c:pt>
                <c:pt idx="42">
                  <c:v>0.26225714285714302</c:v>
                </c:pt>
                <c:pt idx="43">
                  <c:v>0.28557142857142898</c:v>
                </c:pt>
                <c:pt idx="44">
                  <c:v>0.25717142857142899</c:v>
                </c:pt>
                <c:pt idx="45">
                  <c:v>0.31517142857142899</c:v>
                </c:pt>
                <c:pt idx="46">
                  <c:v>0.25348571428571398</c:v>
                </c:pt>
                <c:pt idx="47">
                  <c:v>0.25325714285714301</c:v>
                </c:pt>
                <c:pt idx="48">
                  <c:v>0.214571428571429</c:v>
                </c:pt>
                <c:pt idx="49">
                  <c:v>0.20494285714285701</c:v>
                </c:pt>
                <c:pt idx="50">
                  <c:v>0.22439999999999999</c:v>
                </c:pt>
                <c:pt idx="51">
                  <c:v>0.227657142857143</c:v>
                </c:pt>
                <c:pt idx="52">
                  <c:v>0.21640000000000001</c:v>
                </c:pt>
                <c:pt idx="53">
                  <c:v>0.194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F5-477D-A970-E3FBB1FEA8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6000000000000000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12080536912751E-2"/>
          <c:y val="5.7522123893805309E-2"/>
          <c:w val="0.9563758389261745"/>
          <c:h val="0.88495575221238942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43083672650111798</c:v>
                </c:pt>
                <c:pt idx="27">
                  <c:v>0.28479669667947499</c:v>
                </c:pt>
                <c:pt idx="28">
                  <c:v>8.9034811034008093E-2</c:v>
                </c:pt>
                <c:pt idx="29">
                  <c:v>8.4074095314561004E-2</c:v>
                </c:pt>
                <c:pt idx="30">
                  <c:v>0.130584389516545</c:v>
                </c:pt>
                <c:pt idx="31">
                  <c:v>0.105608762975282</c:v>
                </c:pt>
                <c:pt idx="32">
                  <c:v>0.14552388598956201</c:v>
                </c:pt>
                <c:pt idx="33">
                  <c:v>0.104891896541836</c:v>
                </c:pt>
                <c:pt idx="34">
                  <c:v>8.6540115845615606E-2</c:v>
                </c:pt>
                <c:pt idx="35">
                  <c:v>4.1864999713253401E-2</c:v>
                </c:pt>
                <c:pt idx="36">
                  <c:v>4.0890061363766703E-2</c:v>
                </c:pt>
                <c:pt idx="37">
                  <c:v>3.6990307965819799E-2</c:v>
                </c:pt>
                <c:pt idx="38">
                  <c:v>2.2251534094167601E-2</c:v>
                </c:pt>
                <c:pt idx="39">
                  <c:v>2.2165510122154002E-2</c:v>
                </c:pt>
                <c:pt idx="40">
                  <c:v>2.2882376555600201E-2</c:v>
                </c:pt>
                <c:pt idx="41">
                  <c:v>2.4860927911911499E-2</c:v>
                </c:pt>
                <c:pt idx="42">
                  <c:v>2.08178012272753E-2</c:v>
                </c:pt>
                <c:pt idx="43">
                  <c:v>2.5291047771979099E-2</c:v>
                </c:pt>
                <c:pt idx="44">
                  <c:v>4.1062109307793797E-2</c:v>
                </c:pt>
                <c:pt idx="45">
                  <c:v>5.9155818087973801E-2</c:v>
                </c:pt>
                <c:pt idx="46">
                  <c:v>3.3979468945346099E-2</c:v>
                </c:pt>
                <c:pt idx="47">
                  <c:v>2.4000688191776101E-2</c:v>
                </c:pt>
                <c:pt idx="48">
                  <c:v>2.45168320238573E-2</c:v>
                </c:pt>
                <c:pt idx="49">
                  <c:v>1.43946779835981E-2</c:v>
                </c:pt>
                <c:pt idx="50">
                  <c:v>1.27602225153409E-2</c:v>
                </c:pt>
                <c:pt idx="51">
                  <c:v>1.3792510179503399E-2</c:v>
                </c:pt>
                <c:pt idx="52">
                  <c:v>1.2530825256638199E-2</c:v>
                </c:pt>
                <c:pt idx="53">
                  <c:v>1.41174896293323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0F0-49FB-8E61-6684DFECB28E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2.6559901359178801</c:v>
                </c:pt>
                <c:pt idx="1">
                  <c:v>2.77063141595458</c:v>
                </c:pt>
                <c:pt idx="2">
                  <c:v>2.8104318403395099</c:v>
                </c:pt>
                <c:pt idx="3">
                  <c:v>2.75084590239147</c:v>
                </c:pt>
                <c:pt idx="4">
                  <c:v>2.8426334805299098</c:v>
                </c:pt>
                <c:pt idx="5">
                  <c:v>2.8300453059585902</c:v>
                </c:pt>
                <c:pt idx="6">
                  <c:v>2.7603372139702902</c:v>
                </c:pt>
                <c:pt idx="7">
                  <c:v>2.9681137810403202</c:v>
                </c:pt>
                <c:pt idx="8">
                  <c:v>2.9137753053851001</c:v>
                </c:pt>
                <c:pt idx="9">
                  <c:v>2.9198543327407198</c:v>
                </c:pt>
                <c:pt idx="10">
                  <c:v>2.9186499971325301</c:v>
                </c:pt>
                <c:pt idx="11">
                  <c:v>2.80871136089924</c:v>
                </c:pt>
                <c:pt idx="12">
                  <c:v>2.9738200378505502</c:v>
                </c:pt>
                <c:pt idx="13">
                  <c:v>3.0250043011985999</c:v>
                </c:pt>
                <c:pt idx="14">
                  <c:v>3.35484888455583</c:v>
                </c:pt>
                <c:pt idx="15">
                  <c:v>3.0541377530538498</c:v>
                </c:pt>
                <c:pt idx="16">
                  <c:v>3.1608648276653102</c:v>
                </c:pt>
                <c:pt idx="17">
                  <c:v>2.9575901817973298</c:v>
                </c:pt>
                <c:pt idx="18">
                  <c:v>3.0925617938865599</c:v>
                </c:pt>
                <c:pt idx="19">
                  <c:v>3.2537420427825898</c:v>
                </c:pt>
                <c:pt idx="20">
                  <c:v>3.4373745483741498</c:v>
                </c:pt>
                <c:pt idx="21">
                  <c:v>3.063571715318</c:v>
                </c:pt>
                <c:pt idx="22">
                  <c:v>3.12444801284625</c:v>
                </c:pt>
                <c:pt idx="23">
                  <c:v>3.5407753627344198</c:v>
                </c:pt>
                <c:pt idx="24">
                  <c:v>3.5325170614211201</c:v>
                </c:pt>
                <c:pt idx="25">
                  <c:v>3.26653093995527</c:v>
                </c:pt>
                <c:pt idx="26">
                  <c:v>3.0935940815507301</c:v>
                </c:pt>
                <c:pt idx="27">
                  <c:v>2.8453862476343401</c:v>
                </c:pt>
                <c:pt idx="28">
                  <c:v>3.0233698457303402</c:v>
                </c:pt>
                <c:pt idx="29">
                  <c:v>3.0009462636921498</c:v>
                </c:pt>
                <c:pt idx="30">
                  <c:v>2.9236107128519802</c:v>
                </c:pt>
                <c:pt idx="31">
                  <c:v>2.8568274359121402</c:v>
                </c:pt>
                <c:pt idx="32">
                  <c:v>2.7230028101164199</c:v>
                </c:pt>
                <c:pt idx="33">
                  <c:v>2.8654585077708301</c:v>
                </c:pt>
                <c:pt idx="34">
                  <c:v>2.7652979296897402</c:v>
                </c:pt>
                <c:pt idx="35">
                  <c:v>2.6545850777083202</c:v>
                </c:pt>
                <c:pt idx="36">
                  <c:v>2.83666915180364</c:v>
                </c:pt>
                <c:pt idx="37">
                  <c:v>2.7581005906979401</c:v>
                </c:pt>
                <c:pt idx="38">
                  <c:v>2.78777886104261</c:v>
                </c:pt>
                <c:pt idx="39">
                  <c:v>2.8494867236336501</c:v>
                </c:pt>
                <c:pt idx="40">
                  <c:v>2.6515168893731702</c:v>
                </c:pt>
                <c:pt idx="41">
                  <c:v>2.5655215920169798</c:v>
                </c:pt>
                <c:pt idx="42">
                  <c:v>2.7928542753914098</c:v>
                </c:pt>
                <c:pt idx="43">
                  <c:v>2.64383208120663</c:v>
                </c:pt>
                <c:pt idx="44">
                  <c:v>2.6809657624591399</c:v>
                </c:pt>
                <c:pt idx="45">
                  <c:v>2.7339278545621402</c:v>
                </c:pt>
                <c:pt idx="46">
                  <c:v>2.7992487239777502</c:v>
                </c:pt>
                <c:pt idx="47">
                  <c:v>2.64136606067557</c:v>
                </c:pt>
                <c:pt idx="48">
                  <c:v>2.6533807421001301</c:v>
                </c:pt>
                <c:pt idx="49">
                  <c:v>2.33615300797155</c:v>
                </c:pt>
                <c:pt idx="50">
                  <c:v>2.5148247978436702</c:v>
                </c:pt>
                <c:pt idx="51">
                  <c:v>2.4712393186901398</c:v>
                </c:pt>
                <c:pt idx="52">
                  <c:v>2.4541492229167901</c:v>
                </c:pt>
                <c:pt idx="53">
                  <c:v>2.43188813060351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0F0-49FB-8E61-6684DFECB28E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2.6559901359178801</c:v>
                </c:pt>
                <c:pt idx="1">
                  <c:v>2.77063141595458</c:v>
                </c:pt>
                <c:pt idx="2">
                  <c:v>2.8104318403395099</c:v>
                </c:pt>
                <c:pt idx="3">
                  <c:v>2.75084590239147</c:v>
                </c:pt>
                <c:pt idx="4">
                  <c:v>2.8426334805299098</c:v>
                </c:pt>
                <c:pt idx="5">
                  <c:v>2.8300453059585902</c:v>
                </c:pt>
                <c:pt idx="6">
                  <c:v>2.7603372139702902</c:v>
                </c:pt>
                <c:pt idx="7">
                  <c:v>2.9681137810403202</c:v>
                </c:pt>
                <c:pt idx="8">
                  <c:v>2.9137753053851001</c:v>
                </c:pt>
                <c:pt idx="9">
                  <c:v>2.9198543327407198</c:v>
                </c:pt>
                <c:pt idx="10">
                  <c:v>2.9186499971325301</c:v>
                </c:pt>
                <c:pt idx="11">
                  <c:v>2.80871136089924</c:v>
                </c:pt>
                <c:pt idx="12">
                  <c:v>2.9738200378505502</c:v>
                </c:pt>
                <c:pt idx="13">
                  <c:v>3.0250043011985999</c:v>
                </c:pt>
                <c:pt idx="14">
                  <c:v>3.35484888455583</c:v>
                </c:pt>
                <c:pt idx="15">
                  <c:v>3.0541377530538498</c:v>
                </c:pt>
                <c:pt idx="16">
                  <c:v>3.1608648276653102</c:v>
                </c:pt>
                <c:pt idx="17">
                  <c:v>2.9575901817973298</c:v>
                </c:pt>
                <c:pt idx="18">
                  <c:v>3.0925617938865599</c:v>
                </c:pt>
                <c:pt idx="19">
                  <c:v>3.2537420427825898</c:v>
                </c:pt>
                <c:pt idx="20">
                  <c:v>3.4373745483741498</c:v>
                </c:pt>
                <c:pt idx="21">
                  <c:v>3.063571715318</c:v>
                </c:pt>
                <c:pt idx="22">
                  <c:v>3.12444801284625</c:v>
                </c:pt>
                <c:pt idx="23">
                  <c:v>3.5407753627344198</c:v>
                </c:pt>
                <c:pt idx="24">
                  <c:v>3.5325170614211201</c:v>
                </c:pt>
                <c:pt idx="25">
                  <c:v>3.26653093995527</c:v>
                </c:pt>
                <c:pt idx="26">
                  <c:v>3.5244308080518398</c:v>
                </c:pt>
                <c:pt idx="27">
                  <c:v>3.13018294431382</c:v>
                </c:pt>
                <c:pt idx="28">
                  <c:v>3.1124046567643502</c:v>
                </c:pt>
                <c:pt idx="29">
                  <c:v>3.0850203590067098</c:v>
                </c:pt>
                <c:pt idx="30">
                  <c:v>3.0541951023685301</c:v>
                </c:pt>
                <c:pt idx="31">
                  <c:v>2.9624361988874202</c:v>
                </c:pt>
                <c:pt idx="32">
                  <c:v>2.8685266961059801</c:v>
                </c:pt>
                <c:pt idx="33">
                  <c:v>2.9703504043126698</c:v>
                </c:pt>
                <c:pt idx="34">
                  <c:v>2.8518380455353598</c:v>
                </c:pt>
                <c:pt idx="35">
                  <c:v>2.6964500774215701</c:v>
                </c:pt>
                <c:pt idx="36">
                  <c:v>2.8775592131673999</c:v>
                </c:pt>
                <c:pt idx="37">
                  <c:v>2.7950908986637599</c:v>
                </c:pt>
                <c:pt idx="38">
                  <c:v>2.81003039513678</c:v>
                </c:pt>
                <c:pt idx="39">
                  <c:v>2.8716522337558099</c:v>
                </c:pt>
                <c:pt idx="40">
                  <c:v>2.6743992659287699</c:v>
                </c:pt>
                <c:pt idx="41">
                  <c:v>2.5903825199288901</c:v>
                </c:pt>
                <c:pt idx="42">
                  <c:v>2.8136720766186798</c:v>
                </c:pt>
                <c:pt idx="43">
                  <c:v>2.6691231289786099</c:v>
                </c:pt>
                <c:pt idx="44">
                  <c:v>2.72202787176693</c:v>
                </c:pt>
                <c:pt idx="45">
                  <c:v>2.79308367265011</c:v>
                </c:pt>
                <c:pt idx="46">
                  <c:v>2.83322819292309</c:v>
                </c:pt>
                <c:pt idx="47">
                  <c:v>2.66536674886735</c:v>
                </c:pt>
                <c:pt idx="48">
                  <c:v>2.6778975741239899</c:v>
                </c:pt>
                <c:pt idx="49">
                  <c:v>2.3505476859551502</c:v>
                </c:pt>
                <c:pt idx="50">
                  <c:v>2.5275850203590098</c:v>
                </c:pt>
                <c:pt idx="51">
                  <c:v>2.48503182886965</c:v>
                </c:pt>
                <c:pt idx="52">
                  <c:v>2.4666800481734201</c:v>
                </c:pt>
                <c:pt idx="53">
                  <c:v>2.44600562023284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30F0-49FB-8E61-6684DFECB2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603656003323639E-2"/>
          <c:y val="3.8011695906432746E-2"/>
          <c:w val="0.95679268799335271"/>
          <c:h val="0.92397660818713445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17958571428571399</c:v>
                </c:pt>
                <c:pt idx="1">
                  <c:v>0.18904285714285701</c:v>
                </c:pt>
                <c:pt idx="2">
                  <c:v>0.166278571428571</c:v>
                </c:pt>
                <c:pt idx="3">
                  <c:v>0.129</c:v>
                </c:pt>
                <c:pt idx="4">
                  <c:v>0.15687857142857101</c:v>
                </c:pt>
                <c:pt idx="5">
                  <c:v>0.23522857142857101</c:v>
                </c:pt>
                <c:pt idx="6">
                  <c:v>0.172171428571429</c:v>
                </c:pt>
                <c:pt idx="7">
                  <c:v>0.17453571428571399</c:v>
                </c:pt>
                <c:pt idx="8">
                  <c:v>0.164778571428571</c:v>
                </c:pt>
                <c:pt idx="9">
                  <c:v>0.14767142857142901</c:v>
                </c:pt>
                <c:pt idx="10">
                  <c:v>0.15365000000000001</c:v>
                </c:pt>
                <c:pt idx="11">
                  <c:v>0.15461428571428601</c:v>
                </c:pt>
                <c:pt idx="12">
                  <c:v>0.152285714285714</c:v>
                </c:pt>
                <c:pt idx="13">
                  <c:v>0.15038571428571401</c:v>
                </c:pt>
                <c:pt idx="14">
                  <c:v>0.16166428571428601</c:v>
                </c:pt>
                <c:pt idx="15">
                  <c:v>0.183771428571429</c:v>
                </c:pt>
                <c:pt idx="16">
                  <c:v>0.19049285714285699</c:v>
                </c:pt>
                <c:pt idx="17">
                  <c:v>0.24217857142857099</c:v>
                </c:pt>
                <c:pt idx="18">
                  <c:v>0.247842857142857</c:v>
                </c:pt>
                <c:pt idx="19">
                  <c:v>0.22855</c:v>
                </c:pt>
                <c:pt idx="20">
                  <c:v>0.208971428571429</c:v>
                </c:pt>
                <c:pt idx="21">
                  <c:v>0.19614285714285701</c:v>
                </c:pt>
                <c:pt idx="22">
                  <c:v>0.17441428571428599</c:v>
                </c:pt>
                <c:pt idx="23">
                  <c:v>0.21090714285714299</c:v>
                </c:pt>
                <c:pt idx="24">
                  <c:v>0.29551428571428601</c:v>
                </c:pt>
                <c:pt idx="25">
                  <c:v>0.38832142857142898</c:v>
                </c:pt>
                <c:pt idx="26">
                  <c:v>1.0651071428571399</c:v>
                </c:pt>
                <c:pt idx="27">
                  <c:v>0.54399285714285694</c:v>
                </c:pt>
                <c:pt idx="28">
                  <c:v>0.25217142857142899</c:v>
                </c:pt>
                <c:pt idx="29">
                  <c:v>0.177257142857143</c:v>
                </c:pt>
                <c:pt idx="30">
                  <c:v>0.24032142857142899</c:v>
                </c:pt>
                <c:pt idx="31">
                  <c:v>0.19739999999999999</c:v>
                </c:pt>
                <c:pt idx="32">
                  <c:v>0.19504285714285699</c:v>
                </c:pt>
                <c:pt idx="33">
                  <c:v>0.14906428571428601</c:v>
                </c:pt>
                <c:pt idx="34">
                  <c:v>0.12294285714285701</c:v>
                </c:pt>
                <c:pt idx="35">
                  <c:v>8.0350000000000005E-2</c:v>
                </c:pt>
                <c:pt idx="36">
                  <c:v>7.7214285714285694E-2</c:v>
                </c:pt>
                <c:pt idx="37">
                  <c:v>8.4014285714285694E-2</c:v>
                </c:pt>
                <c:pt idx="38">
                  <c:v>6.0057142857142899E-2</c:v>
                </c:pt>
                <c:pt idx="39">
                  <c:v>6.0499999999999998E-2</c:v>
                </c:pt>
                <c:pt idx="40">
                  <c:v>5.8964285714285698E-2</c:v>
                </c:pt>
                <c:pt idx="41">
                  <c:v>6.6242857142857103E-2</c:v>
                </c:pt>
                <c:pt idx="42">
                  <c:v>5.5607142857142897E-2</c:v>
                </c:pt>
                <c:pt idx="43">
                  <c:v>5.6385714285714303E-2</c:v>
                </c:pt>
                <c:pt idx="44">
                  <c:v>8.0328571428571402E-2</c:v>
                </c:pt>
                <c:pt idx="45">
                  <c:v>9.4642857142857098E-2</c:v>
                </c:pt>
                <c:pt idx="46">
                  <c:v>0.06</c:v>
                </c:pt>
                <c:pt idx="47">
                  <c:v>5.2678571428571401E-2</c:v>
                </c:pt>
                <c:pt idx="48">
                  <c:v>4.5414285714285699E-2</c:v>
                </c:pt>
                <c:pt idx="49">
                  <c:v>3.9314285714285697E-2</c:v>
                </c:pt>
                <c:pt idx="50">
                  <c:v>4.5892857142857103E-2</c:v>
                </c:pt>
                <c:pt idx="51">
                  <c:v>4.7821428571428598E-2</c:v>
                </c:pt>
                <c:pt idx="52">
                  <c:v>5.1671428571428597E-2</c:v>
                </c:pt>
                <c:pt idx="53">
                  <c:v>4.755000000000000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103-4C6C-BC3B-001CAC4654FE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1.15330714285714</c:v>
                </c:pt>
                <c:pt idx="1">
                  <c:v>1.18637142857143</c:v>
                </c:pt>
                <c:pt idx="2">
                  <c:v>1.2048642857142899</c:v>
                </c:pt>
                <c:pt idx="3">
                  <c:v>1.19845</c:v>
                </c:pt>
                <c:pt idx="4">
                  <c:v>1.23628571428571</c:v>
                </c:pt>
                <c:pt idx="5">
                  <c:v>1.51181428571429</c:v>
                </c:pt>
                <c:pt idx="6">
                  <c:v>1.1559071428571399</c:v>
                </c:pt>
                <c:pt idx="7">
                  <c:v>1.2661500000000001</c:v>
                </c:pt>
                <c:pt idx="8">
                  <c:v>1.30642142857143</c:v>
                </c:pt>
                <c:pt idx="9">
                  <c:v>1.25579285714286</c:v>
                </c:pt>
                <c:pt idx="10">
                  <c:v>1.23925</c:v>
                </c:pt>
                <c:pt idx="11">
                  <c:v>1.2146071428571401</c:v>
                </c:pt>
                <c:pt idx="12">
                  <c:v>1.2530142857142901</c:v>
                </c:pt>
                <c:pt idx="13">
                  <c:v>1.26143571428571</c:v>
                </c:pt>
                <c:pt idx="14">
                  <c:v>1.45493571428571</c:v>
                </c:pt>
                <c:pt idx="15">
                  <c:v>1.26951428571429</c:v>
                </c:pt>
                <c:pt idx="16">
                  <c:v>1.2918857142857101</c:v>
                </c:pt>
                <c:pt idx="17">
                  <c:v>1.21587857142857</c:v>
                </c:pt>
                <c:pt idx="18">
                  <c:v>1.25895714285714</c:v>
                </c:pt>
                <c:pt idx="19">
                  <c:v>1.3011285714285701</c:v>
                </c:pt>
                <c:pt idx="20">
                  <c:v>1.3018642857142899</c:v>
                </c:pt>
                <c:pt idx="21">
                  <c:v>1.1885214285714301</c:v>
                </c:pt>
                <c:pt idx="22">
                  <c:v>1.1832642857142901</c:v>
                </c:pt>
                <c:pt idx="23">
                  <c:v>1.3456928571428599</c:v>
                </c:pt>
                <c:pt idx="24">
                  <c:v>1.3007357142857101</c:v>
                </c:pt>
                <c:pt idx="25">
                  <c:v>1.1841999999999999</c:v>
                </c:pt>
                <c:pt idx="26">
                  <c:v>1.1745142857142901</c:v>
                </c:pt>
                <c:pt idx="27">
                  <c:v>1.0988714285714301</c:v>
                </c:pt>
                <c:pt idx="28">
                  <c:v>1.2054571428571399</c:v>
                </c:pt>
                <c:pt idx="29">
                  <c:v>1.19237142857143</c:v>
                </c:pt>
                <c:pt idx="30">
                  <c:v>1.17645714285714</c:v>
                </c:pt>
                <c:pt idx="31">
                  <c:v>1.1560857142857099</c:v>
                </c:pt>
                <c:pt idx="32">
                  <c:v>1.1157142857142901</c:v>
                </c:pt>
                <c:pt idx="33">
                  <c:v>1.1326499999999999</c:v>
                </c:pt>
                <c:pt idx="34">
                  <c:v>1.0821642857142899</c:v>
                </c:pt>
                <c:pt idx="35">
                  <c:v>1.0105428571428601</c:v>
                </c:pt>
                <c:pt idx="36">
                  <c:v>1.07812142857143</c:v>
                </c:pt>
                <c:pt idx="37">
                  <c:v>1.0701714285714301</c:v>
                </c:pt>
                <c:pt idx="38">
                  <c:v>1.1133357142857101</c:v>
                </c:pt>
                <c:pt idx="39">
                  <c:v>1.08766428571429</c:v>
                </c:pt>
                <c:pt idx="40">
                  <c:v>1.0680714285714299</c:v>
                </c:pt>
                <c:pt idx="41">
                  <c:v>1.0579714285714299</c:v>
                </c:pt>
                <c:pt idx="42">
                  <c:v>1.0993999999999999</c:v>
                </c:pt>
                <c:pt idx="43">
                  <c:v>1.05125</c:v>
                </c:pt>
                <c:pt idx="44">
                  <c:v>1.0360642857142901</c:v>
                </c:pt>
                <c:pt idx="45">
                  <c:v>1.11366428571429</c:v>
                </c:pt>
                <c:pt idx="46">
                  <c:v>1.11177142857143</c:v>
                </c:pt>
                <c:pt idx="47">
                  <c:v>1.0767571428571401</c:v>
                </c:pt>
                <c:pt idx="48">
                  <c:v>1.0572071428571399</c:v>
                </c:pt>
                <c:pt idx="49">
                  <c:v>0.94322142857142899</c:v>
                </c:pt>
                <c:pt idx="50">
                  <c:v>0.98566428571428599</c:v>
                </c:pt>
                <c:pt idx="51">
                  <c:v>0.97632142857142901</c:v>
                </c:pt>
                <c:pt idx="52">
                  <c:v>1.0098857142857101</c:v>
                </c:pt>
                <c:pt idx="53">
                  <c:v>1.0446166666666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103-4C6C-BC3B-001CAC4654FE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1.33289285714286</c:v>
                </c:pt>
                <c:pt idx="1">
                  <c:v>1.3754142857142899</c:v>
                </c:pt>
                <c:pt idx="2">
                  <c:v>1.3711428571428601</c:v>
                </c:pt>
                <c:pt idx="3">
                  <c:v>1.32745</c:v>
                </c:pt>
                <c:pt idx="4">
                  <c:v>1.3931642857142901</c:v>
                </c:pt>
                <c:pt idx="5">
                  <c:v>1.74704285714286</c:v>
                </c:pt>
                <c:pt idx="6">
                  <c:v>1.3280785714285701</c:v>
                </c:pt>
                <c:pt idx="7">
                  <c:v>1.4406857142857099</c:v>
                </c:pt>
                <c:pt idx="8">
                  <c:v>1.4712000000000001</c:v>
                </c:pt>
                <c:pt idx="9">
                  <c:v>1.40346428571429</c:v>
                </c:pt>
                <c:pt idx="10">
                  <c:v>1.3929</c:v>
                </c:pt>
                <c:pt idx="11">
                  <c:v>1.3692214285714299</c:v>
                </c:pt>
                <c:pt idx="12">
                  <c:v>1.4053</c:v>
                </c:pt>
                <c:pt idx="13">
                  <c:v>1.4118214285714299</c:v>
                </c:pt>
                <c:pt idx="14">
                  <c:v>1.6166</c:v>
                </c:pt>
                <c:pt idx="15">
                  <c:v>1.4532857142857101</c:v>
                </c:pt>
                <c:pt idx="16">
                  <c:v>1.48237857142857</c:v>
                </c:pt>
                <c:pt idx="17">
                  <c:v>1.4580571428571401</c:v>
                </c:pt>
                <c:pt idx="18">
                  <c:v>1.5067999999999999</c:v>
                </c:pt>
                <c:pt idx="19">
                  <c:v>1.5296785714285701</c:v>
                </c:pt>
                <c:pt idx="20">
                  <c:v>1.5108357142857101</c:v>
                </c:pt>
                <c:pt idx="21">
                  <c:v>1.3846642857142899</c:v>
                </c:pt>
                <c:pt idx="22">
                  <c:v>1.35767857142857</c:v>
                </c:pt>
                <c:pt idx="23">
                  <c:v>1.5566</c:v>
                </c:pt>
                <c:pt idx="24">
                  <c:v>1.5962499999999999</c:v>
                </c:pt>
                <c:pt idx="25">
                  <c:v>1.57252142857143</c:v>
                </c:pt>
                <c:pt idx="26">
                  <c:v>2.23962142857143</c:v>
                </c:pt>
                <c:pt idx="27">
                  <c:v>1.6428642857142901</c:v>
                </c:pt>
                <c:pt idx="28">
                  <c:v>1.4576285714285699</c:v>
                </c:pt>
                <c:pt idx="29">
                  <c:v>1.3696285714285701</c:v>
                </c:pt>
                <c:pt idx="30">
                  <c:v>1.4167785714285701</c:v>
                </c:pt>
                <c:pt idx="31">
                  <c:v>1.35348571428571</c:v>
                </c:pt>
                <c:pt idx="32">
                  <c:v>1.3107571428571401</c:v>
                </c:pt>
                <c:pt idx="33">
                  <c:v>1.28171428571429</c:v>
                </c:pt>
                <c:pt idx="34">
                  <c:v>1.20510714285714</c:v>
                </c:pt>
                <c:pt idx="35">
                  <c:v>1.09089285714286</c:v>
                </c:pt>
                <c:pt idx="36">
                  <c:v>1.1553357142857099</c:v>
                </c:pt>
                <c:pt idx="37">
                  <c:v>1.1541857142857099</c:v>
                </c:pt>
                <c:pt idx="38">
                  <c:v>1.17339285714286</c:v>
                </c:pt>
                <c:pt idx="39">
                  <c:v>1.14816428571429</c:v>
                </c:pt>
                <c:pt idx="40">
                  <c:v>1.1270357142857099</c:v>
                </c:pt>
                <c:pt idx="41">
                  <c:v>1.1242142857142901</c:v>
                </c:pt>
                <c:pt idx="42">
                  <c:v>1.15500714285714</c:v>
                </c:pt>
                <c:pt idx="43">
                  <c:v>1.1076357142857101</c:v>
                </c:pt>
                <c:pt idx="44">
                  <c:v>1.1163928571428601</c:v>
                </c:pt>
                <c:pt idx="45">
                  <c:v>1.2083071428571399</c:v>
                </c:pt>
                <c:pt idx="46">
                  <c:v>1.17177142857143</c:v>
                </c:pt>
                <c:pt idx="47">
                  <c:v>1.1294357142857101</c:v>
                </c:pt>
                <c:pt idx="48">
                  <c:v>1.10262142857143</c:v>
                </c:pt>
                <c:pt idx="49">
                  <c:v>0.98253571428571396</c:v>
                </c:pt>
                <c:pt idx="50">
                  <c:v>1.03155714285714</c:v>
                </c:pt>
                <c:pt idx="51">
                  <c:v>1.0241428571428599</c:v>
                </c:pt>
                <c:pt idx="52">
                  <c:v>1.06155714285714</c:v>
                </c:pt>
                <c:pt idx="53">
                  <c:v>1.0921666666666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C103-4C6C-BC3B-001CAC4654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2.400000000000000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58433616097849E-2"/>
          <c:y val="2.584493041749503E-2"/>
          <c:w val="0.9794831327678043"/>
          <c:h val="0.94831013916500995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NJ$1</c:f>
              <c:numCache>
                <c:formatCode>General</c:formatCode>
                <c:ptCount val="374"/>
                <c:pt idx="0">
                  <c:v>18469</c:v>
                </c:pt>
                <c:pt idx="1">
                  <c:v>18470</c:v>
                </c:pt>
                <c:pt idx="2">
                  <c:v>18471</c:v>
                </c:pt>
                <c:pt idx="3">
                  <c:v>18472</c:v>
                </c:pt>
                <c:pt idx="4">
                  <c:v>18473</c:v>
                </c:pt>
                <c:pt idx="5">
                  <c:v>18474</c:v>
                </c:pt>
                <c:pt idx="6">
                  <c:v>18475</c:v>
                </c:pt>
                <c:pt idx="7">
                  <c:v>18476</c:v>
                </c:pt>
                <c:pt idx="8">
                  <c:v>18477</c:v>
                </c:pt>
                <c:pt idx="9">
                  <c:v>18478</c:v>
                </c:pt>
                <c:pt idx="10">
                  <c:v>18479</c:v>
                </c:pt>
                <c:pt idx="11">
                  <c:v>18480</c:v>
                </c:pt>
                <c:pt idx="12">
                  <c:v>18481</c:v>
                </c:pt>
                <c:pt idx="13">
                  <c:v>18482</c:v>
                </c:pt>
                <c:pt idx="14">
                  <c:v>18483</c:v>
                </c:pt>
                <c:pt idx="15">
                  <c:v>18484</c:v>
                </c:pt>
                <c:pt idx="16">
                  <c:v>18485</c:v>
                </c:pt>
                <c:pt idx="17">
                  <c:v>18486</c:v>
                </c:pt>
                <c:pt idx="18">
                  <c:v>18487</c:v>
                </c:pt>
                <c:pt idx="19">
                  <c:v>18488</c:v>
                </c:pt>
                <c:pt idx="20">
                  <c:v>18489</c:v>
                </c:pt>
                <c:pt idx="21">
                  <c:v>18490</c:v>
                </c:pt>
                <c:pt idx="22">
                  <c:v>18491</c:v>
                </c:pt>
                <c:pt idx="23">
                  <c:v>18492</c:v>
                </c:pt>
                <c:pt idx="24">
                  <c:v>18493</c:v>
                </c:pt>
                <c:pt idx="25">
                  <c:v>18494</c:v>
                </c:pt>
                <c:pt idx="26">
                  <c:v>18495</c:v>
                </c:pt>
                <c:pt idx="27">
                  <c:v>18496</c:v>
                </c:pt>
                <c:pt idx="28">
                  <c:v>18497</c:v>
                </c:pt>
                <c:pt idx="29">
                  <c:v>18498</c:v>
                </c:pt>
                <c:pt idx="30">
                  <c:v>18499</c:v>
                </c:pt>
                <c:pt idx="31">
                  <c:v>18500</c:v>
                </c:pt>
                <c:pt idx="32">
                  <c:v>18501</c:v>
                </c:pt>
                <c:pt idx="33">
                  <c:v>18502</c:v>
                </c:pt>
                <c:pt idx="34">
                  <c:v>18503</c:v>
                </c:pt>
                <c:pt idx="35">
                  <c:v>18504</c:v>
                </c:pt>
                <c:pt idx="36">
                  <c:v>18505</c:v>
                </c:pt>
                <c:pt idx="37">
                  <c:v>18506</c:v>
                </c:pt>
                <c:pt idx="38">
                  <c:v>18507</c:v>
                </c:pt>
                <c:pt idx="39">
                  <c:v>18508</c:v>
                </c:pt>
                <c:pt idx="40">
                  <c:v>18509</c:v>
                </c:pt>
                <c:pt idx="41">
                  <c:v>18510</c:v>
                </c:pt>
                <c:pt idx="42">
                  <c:v>18511</c:v>
                </c:pt>
                <c:pt idx="43">
                  <c:v>18512</c:v>
                </c:pt>
                <c:pt idx="44">
                  <c:v>18513</c:v>
                </c:pt>
                <c:pt idx="45">
                  <c:v>18514</c:v>
                </c:pt>
                <c:pt idx="46">
                  <c:v>18515</c:v>
                </c:pt>
                <c:pt idx="47">
                  <c:v>18516</c:v>
                </c:pt>
                <c:pt idx="48">
                  <c:v>18517</c:v>
                </c:pt>
                <c:pt idx="49">
                  <c:v>18518</c:v>
                </c:pt>
                <c:pt idx="50">
                  <c:v>18519</c:v>
                </c:pt>
                <c:pt idx="51">
                  <c:v>18520</c:v>
                </c:pt>
                <c:pt idx="52">
                  <c:v>18521</c:v>
                </c:pt>
                <c:pt idx="53">
                  <c:v>18522</c:v>
                </c:pt>
                <c:pt idx="54">
                  <c:v>18523</c:v>
                </c:pt>
                <c:pt idx="55">
                  <c:v>18524</c:v>
                </c:pt>
                <c:pt idx="56">
                  <c:v>18525</c:v>
                </c:pt>
                <c:pt idx="57">
                  <c:v>18526</c:v>
                </c:pt>
                <c:pt idx="58">
                  <c:v>18527</c:v>
                </c:pt>
                <c:pt idx="59">
                  <c:v>18528</c:v>
                </c:pt>
                <c:pt idx="60">
                  <c:v>18529</c:v>
                </c:pt>
                <c:pt idx="61">
                  <c:v>18530</c:v>
                </c:pt>
                <c:pt idx="62">
                  <c:v>18531</c:v>
                </c:pt>
                <c:pt idx="63">
                  <c:v>18532</c:v>
                </c:pt>
                <c:pt idx="64">
                  <c:v>18533</c:v>
                </c:pt>
                <c:pt idx="65">
                  <c:v>18534</c:v>
                </c:pt>
                <c:pt idx="66">
                  <c:v>18535</c:v>
                </c:pt>
                <c:pt idx="67">
                  <c:v>18536</c:v>
                </c:pt>
                <c:pt idx="68">
                  <c:v>18537</c:v>
                </c:pt>
                <c:pt idx="69">
                  <c:v>18538</c:v>
                </c:pt>
                <c:pt idx="70">
                  <c:v>18539</c:v>
                </c:pt>
                <c:pt idx="71">
                  <c:v>18540</c:v>
                </c:pt>
                <c:pt idx="72">
                  <c:v>18541</c:v>
                </c:pt>
                <c:pt idx="73">
                  <c:v>18542</c:v>
                </c:pt>
                <c:pt idx="74">
                  <c:v>18543</c:v>
                </c:pt>
                <c:pt idx="75">
                  <c:v>18544</c:v>
                </c:pt>
                <c:pt idx="76">
                  <c:v>18545</c:v>
                </c:pt>
                <c:pt idx="77">
                  <c:v>18546</c:v>
                </c:pt>
                <c:pt idx="78">
                  <c:v>18547</c:v>
                </c:pt>
                <c:pt idx="79">
                  <c:v>18548</c:v>
                </c:pt>
                <c:pt idx="80">
                  <c:v>18549</c:v>
                </c:pt>
                <c:pt idx="81">
                  <c:v>18550</c:v>
                </c:pt>
                <c:pt idx="82">
                  <c:v>18551</c:v>
                </c:pt>
                <c:pt idx="83">
                  <c:v>18552</c:v>
                </c:pt>
                <c:pt idx="84">
                  <c:v>18553</c:v>
                </c:pt>
                <c:pt idx="85">
                  <c:v>18554</c:v>
                </c:pt>
                <c:pt idx="86">
                  <c:v>18555</c:v>
                </c:pt>
                <c:pt idx="87">
                  <c:v>18556</c:v>
                </c:pt>
                <c:pt idx="88">
                  <c:v>18557</c:v>
                </c:pt>
                <c:pt idx="89">
                  <c:v>18558</c:v>
                </c:pt>
                <c:pt idx="90">
                  <c:v>18559</c:v>
                </c:pt>
                <c:pt idx="91">
                  <c:v>18560</c:v>
                </c:pt>
                <c:pt idx="92">
                  <c:v>18561</c:v>
                </c:pt>
                <c:pt idx="93">
                  <c:v>18562</c:v>
                </c:pt>
                <c:pt idx="94">
                  <c:v>18563</c:v>
                </c:pt>
                <c:pt idx="95">
                  <c:v>18564</c:v>
                </c:pt>
                <c:pt idx="96">
                  <c:v>18565</c:v>
                </c:pt>
                <c:pt idx="97">
                  <c:v>18566</c:v>
                </c:pt>
                <c:pt idx="98">
                  <c:v>18567</c:v>
                </c:pt>
                <c:pt idx="99">
                  <c:v>18568</c:v>
                </c:pt>
                <c:pt idx="100">
                  <c:v>18569</c:v>
                </c:pt>
                <c:pt idx="101">
                  <c:v>18570</c:v>
                </c:pt>
                <c:pt idx="102">
                  <c:v>18571</c:v>
                </c:pt>
                <c:pt idx="103">
                  <c:v>18572</c:v>
                </c:pt>
                <c:pt idx="104">
                  <c:v>18573</c:v>
                </c:pt>
                <c:pt idx="105">
                  <c:v>18574</c:v>
                </c:pt>
                <c:pt idx="106">
                  <c:v>18575</c:v>
                </c:pt>
                <c:pt idx="107">
                  <c:v>18576</c:v>
                </c:pt>
                <c:pt idx="108">
                  <c:v>18577</c:v>
                </c:pt>
                <c:pt idx="109">
                  <c:v>18578</c:v>
                </c:pt>
                <c:pt idx="110">
                  <c:v>18579</c:v>
                </c:pt>
                <c:pt idx="111">
                  <c:v>18580</c:v>
                </c:pt>
                <c:pt idx="112">
                  <c:v>18581</c:v>
                </c:pt>
                <c:pt idx="113">
                  <c:v>18582</c:v>
                </c:pt>
                <c:pt idx="114">
                  <c:v>18583</c:v>
                </c:pt>
                <c:pt idx="115">
                  <c:v>18584</c:v>
                </c:pt>
                <c:pt idx="116">
                  <c:v>18585</c:v>
                </c:pt>
                <c:pt idx="117">
                  <c:v>18586</c:v>
                </c:pt>
                <c:pt idx="118">
                  <c:v>18587</c:v>
                </c:pt>
                <c:pt idx="119">
                  <c:v>18588</c:v>
                </c:pt>
                <c:pt idx="120">
                  <c:v>18589</c:v>
                </c:pt>
                <c:pt idx="121">
                  <c:v>18590</c:v>
                </c:pt>
                <c:pt idx="122">
                  <c:v>18591</c:v>
                </c:pt>
                <c:pt idx="123">
                  <c:v>18592</c:v>
                </c:pt>
                <c:pt idx="124">
                  <c:v>18593</c:v>
                </c:pt>
                <c:pt idx="125">
                  <c:v>18594</c:v>
                </c:pt>
                <c:pt idx="126">
                  <c:v>18595</c:v>
                </c:pt>
                <c:pt idx="127">
                  <c:v>18596</c:v>
                </c:pt>
                <c:pt idx="128">
                  <c:v>18597</c:v>
                </c:pt>
                <c:pt idx="129">
                  <c:v>18598</c:v>
                </c:pt>
                <c:pt idx="130">
                  <c:v>18599</c:v>
                </c:pt>
                <c:pt idx="131">
                  <c:v>18600</c:v>
                </c:pt>
                <c:pt idx="132">
                  <c:v>18601</c:v>
                </c:pt>
                <c:pt idx="133">
                  <c:v>18602</c:v>
                </c:pt>
                <c:pt idx="134">
                  <c:v>18603</c:v>
                </c:pt>
                <c:pt idx="135">
                  <c:v>18604</c:v>
                </c:pt>
                <c:pt idx="136">
                  <c:v>18605</c:v>
                </c:pt>
                <c:pt idx="137">
                  <c:v>18606</c:v>
                </c:pt>
                <c:pt idx="138">
                  <c:v>18607</c:v>
                </c:pt>
                <c:pt idx="139">
                  <c:v>18608</c:v>
                </c:pt>
                <c:pt idx="140">
                  <c:v>18609</c:v>
                </c:pt>
                <c:pt idx="141">
                  <c:v>18610</c:v>
                </c:pt>
                <c:pt idx="142">
                  <c:v>18611</c:v>
                </c:pt>
                <c:pt idx="143">
                  <c:v>18612</c:v>
                </c:pt>
                <c:pt idx="144">
                  <c:v>18613</c:v>
                </c:pt>
                <c:pt idx="145">
                  <c:v>18614</c:v>
                </c:pt>
                <c:pt idx="146">
                  <c:v>18615</c:v>
                </c:pt>
                <c:pt idx="147">
                  <c:v>18616</c:v>
                </c:pt>
                <c:pt idx="148">
                  <c:v>18617</c:v>
                </c:pt>
                <c:pt idx="149">
                  <c:v>18618</c:v>
                </c:pt>
                <c:pt idx="150">
                  <c:v>18619</c:v>
                </c:pt>
                <c:pt idx="151">
                  <c:v>18620</c:v>
                </c:pt>
                <c:pt idx="152">
                  <c:v>18621</c:v>
                </c:pt>
                <c:pt idx="153">
                  <c:v>18622</c:v>
                </c:pt>
                <c:pt idx="154">
                  <c:v>18623</c:v>
                </c:pt>
                <c:pt idx="155">
                  <c:v>18624</c:v>
                </c:pt>
                <c:pt idx="156">
                  <c:v>18625</c:v>
                </c:pt>
                <c:pt idx="157">
                  <c:v>18626</c:v>
                </c:pt>
                <c:pt idx="158">
                  <c:v>18627</c:v>
                </c:pt>
                <c:pt idx="159">
                  <c:v>18628</c:v>
                </c:pt>
                <c:pt idx="160">
                  <c:v>18629</c:v>
                </c:pt>
                <c:pt idx="161">
                  <c:v>18630</c:v>
                </c:pt>
                <c:pt idx="162">
                  <c:v>18631</c:v>
                </c:pt>
                <c:pt idx="163">
                  <c:v>18632</c:v>
                </c:pt>
                <c:pt idx="164">
                  <c:v>18633</c:v>
                </c:pt>
                <c:pt idx="165">
                  <c:v>18634</c:v>
                </c:pt>
                <c:pt idx="166">
                  <c:v>18635</c:v>
                </c:pt>
                <c:pt idx="167">
                  <c:v>18636</c:v>
                </c:pt>
                <c:pt idx="168">
                  <c:v>18637</c:v>
                </c:pt>
                <c:pt idx="169">
                  <c:v>18638</c:v>
                </c:pt>
                <c:pt idx="170">
                  <c:v>18639</c:v>
                </c:pt>
                <c:pt idx="171">
                  <c:v>18640</c:v>
                </c:pt>
                <c:pt idx="172">
                  <c:v>18641</c:v>
                </c:pt>
                <c:pt idx="173">
                  <c:v>18642</c:v>
                </c:pt>
                <c:pt idx="174">
                  <c:v>18643</c:v>
                </c:pt>
                <c:pt idx="175">
                  <c:v>18644</c:v>
                </c:pt>
                <c:pt idx="176">
                  <c:v>18645</c:v>
                </c:pt>
                <c:pt idx="177">
                  <c:v>18646</c:v>
                </c:pt>
                <c:pt idx="178">
                  <c:v>18647</c:v>
                </c:pt>
                <c:pt idx="179">
                  <c:v>18648</c:v>
                </c:pt>
                <c:pt idx="180">
                  <c:v>18649</c:v>
                </c:pt>
                <c:pt idx="181">
                  <c:v>18650</c:v>
                </c:pt>
                <c:pt idx="182">
                  <c:v>18651</c:v>
                </c:pt>
                <c:pt idx="183">
                  <c:v>18652</c:v>
                </c:pt>
                <c:pt idx="184">
                  <c:v>18653</c:v>
                </c:pt>
                <c:pt idx="185">
                  <c:v>18654</c:v>
                </c:pt>
                <c:pt idx="186">
                  <c:v>18655</c:v>
                </c:pt>
                <c:pt idx="187">
                  <c:v>18656</c:v>
                </c:pt>
                <c:pt idx="188">
                  <c:v>18657</c:v>
                </c:pt>
                <c:pt idx="189">
                  <c:v>18658</c:v>
                </c:pt>
                <c:pt idx="190">
                  <c:v>18659</c:v>
                </c:pt>
                <c:pt idx="191">
                  <c:v>18660</c:v>
                </c:pt>
                <c:pt idx="192">
                  <c:v>18661</c:v>
                </c:pt>
                <c:pt idx="193">
                  <c:v>18662</c:v>
                </c:pt>
                <c:pt idx="194">
                  <c:v>18663</c:v>
                </c:pt>
                <c:pt idx="195">
                  <c:v>18664</c:v>
                </c:pt>
                <c:pt idx="196">
                  <c:v>18665</c:v>
                </c:pt>
                <c:pt idx="197">
                  <c:v>18666</c:v>
                </c:pt>
                <c:pt idx="198">
                  <c:v>18667</c:v>
                </c:pt>
                <c:pt idx="199">
                  <c:v>18668</c:v>
                </c:pt>
                <c:pt idx="200">
                  <c:v>18669</c:v>
                </c:pt>
                <c:pt idx="201">
                  <c:v>18670</c:v>
                </c:pt>
                <c:pt idx="202">
                  <c:v>18671</c:v>
                </c:pt>
                <c:pt idx="203">
                  <c:v>18672</c:v>
                </c:pt>
                <c:pt idx="204">
                  <c:v>18673</c:v>
                </c:pt>
                <c:pt idx="205">
                  <c:v>18674</c:v>
                </c:pt>
                <c:pt idx="206">
                  <c:v>18675</c:v>
                </c:pt>
                <c:pt idx="207">
                  <c:v>18676</c:v>
                </c:pt>
                <c:pt idx="208">
                  <c:v>18677</c:v>
                </c:pt>
                <c:pt idx="209">
                  <c:v>18678</c:v>
                </c:pt>
                <c:pt idx="210">
                  <c:v>18679</c:v>
                </c:pt>
                <c:pt idx="211">
                  <c:v>18680</c:v>
                </c:pt>
                <c:pt idx="212">
                  <c:v>18681</c:v>
                </c:pt>
                <c:pt idx="213">
                  <c:v>18682</c:v>
                </c:pt>
                <c:pt idx="214">
                  <c:v>18683</c:v>
                </c:pt>
                <c:pt idx="215">
                  <c:v>18684</c:v>
                </c:pt>
                <c:pt idx="216">
                  <c:v>18685</c:v>
                </c:pt>
                <c:pt idx="217">
                  <c:v>18686</c:v>
                </c:pt>
                <c:pt idx="218">
                  <c:v>18687</c:v>
                </c:pt>
                <c:pt idx="219">
                  <c:v>18688</c:v>
                </c:pt>
                <c:pt idx="220">
                  <c:v>18689</c:v>
                </c:pt>
                <c:pt idx="221">
                  <c:v>18690</c:v>
                </c:pt>
                <c:pt idx="222">
                  <c:v>18691</c:v>
                </c:pt>
                <c:pt idx="223">
                  <c:v>18692</c:v>
                </c:pt>
                <c:pt idx="224">
                  <c:v>18693</c:v>
                </c:pt>
                <c:pt idx="225">
                  <c:v>18694</c:v>
                </c:pt>
                <c:pt idx="226">
                  <c:v>18695</c:v>
                </c:pt>
                <c:pt idx="227">
                  <c:v>18696</c:v>
                </c:pt>
                <c:pt idx="228">
                  <c:v>18697</c:v>
                </c:pt>
                <c:pt idx="229">
                  <c:v>18698</c:v>
                </c:pt>
                <c:pt idx="230">
                  <c:v>18699</c:v>
                </c:pt>
                <c:pt idx="231">
                  <c:v>18700</c:v>
                </c:pt>
                <c:pt idx="232">
                  <c:v>18701</c:v>
                </c:pt>
                <c:pt idx="233">
                  <c:v>18702</c:v>
                </c:pt>
                <c:pt idx="234">
                  <c:v>18703</c:v>
                </c:pt>
                <c:pt idx="235">
                  <c:v>18704</c:v>
                </c:pt>
                <c:pt idx="236">
                  <c:v>18705</c:v>
                </c:pt>
                <c:pt idx="237">
                  <c:v>18706</c:v>
                </c:pt>
                <c:pt idx="238">
                  <c:v>18707</c:v>
                </c:pt>
                <c:pt idx="239">
                  <c:v>18708</c:v>
                </c:pt>
                <c:pt idx="240">
                  <c:v>18709</c:v>
                </c:pt>
                <c:pt idx="241">
                  <c:v>18710</c:v>
                </c:pt>
                <c:pt idx="242">
                  <c:v>18711</c:v>
                </c:pt>
                <c:pt idx="243">
                  <c:v>18712</c:v>
                </c:pt>
                <c:pt idx="244">
                  <c:v>18713</c:v>
                </c:pt>
                <c:pt idx="245">
                  <c:v>18714</c:v>
                </c:pt>
                <c:pt idx="246">
                  <c:v>18715</c:v>
                </c:pt>
                <c:pt idx="247">
                  <c:v>18716</c:v>
                </c:pt>
                <c:pt idx="248">
                  <c:v>18717</c:v>
                </c:pt>
                <c:pt idx="249">
                  <c:v>18718</c:v>
                </c:pt>
                <c:pt idx="250">
                  <c:v>18719</c:v>
                </c:pt>
                <c:pt idx="251">
                  <c:v>18720</c:v>
                </c:pt>
                <c:pt idx="252">
                  <c:v>18721</c:v>
                </c:pt>
                <c:pt idx="253">
                  <c:v>18722</c:v>
                </c:pt>
                <c:pt idx="254">
                  <c:v>18723</c:v>
                </c:pt>
                <c:pt idx="255">
                  <c:v>18724</c:v>
                </c:pt>
                <c:pt idx="256">
                  <c:v>18725</c:v>
                </c:pt>
                <c:pt idx="257">
                  <c:v>18726</c:v>
                </c:pt>
                <c:pt idx="258">
                  <c:v>18727</c:v>
                </c:pt>
                <c:pt idx="259">
                  <c:v>18728</c:v>
                </c:pt>
                <c:pt idx="260">
                  <c:v>18729</c:v>
                </c:pt>
                <c:pt idx="261">
                  <c:v>18730</c:v>
                </c:pt>
                <c:pt idx="262">
                  <c:v>18731</c:v>
                </c:pt>
                <c:pt idx="263">
                  <c:v>18732</c:v>
                </c:pt>
                <c:pt idx="264">
                  <c:v>18733</c:v>
                </c:pt>
                <c:pt idx="265">
                  <c:v>18734</c:v>
                </c:pt>
                <c:pt idx="266">
                  <c:v>18735</c:v>
                </c:pt>
                <c:pt idx="267">
                  <c:v>18736</c:v>
                </c:pt>
                <c:pt idx="268">
                  <c:v>18737</c:v>
                </c:pt>
                <c:pt idx="269">
                  <c:v>18738</c:v>
                </c:pt>
                <c:pt idx="270">
                  <c:v>18739</c:v>
                </c:pt>
                <c:pt idx="271">
                  <c:v>18740</c:v>
                </c:pt>
                <c:pt idx="272">
                  <c:v>18741</c:v>
                </c:pt>
                <c:pt idx="273">
                  <c:v>18742</c:v>
                </c:pt>
                <c:pt idx="274">
                  <c:v>18743</c:v>
                </c:pt>
                <c:pt idx="275">
                  <c:v>18744</c:v>
                </c:pt>
                <c:pt idx="276">
                  <c:v>18745</c:v>
                </c:pt>
                <c:pt idx="277">
                  <c:v>18746</c:v>
                </c:pt>
                <c:pt idx="278">
                  <c:v>18747</c:v>
                </c:pt>
                <c:pt idx="279">
                  <c:v>18748</c:v>
                </c:pt>
                <c:pt idx="280">
                  <c:v>18749</c:v>
                </c:pt>
                <c:pt idx="281">
                  <c:v>18750</c:v>
                </c:pt>
                <c:pt idx="282">
                  <c:v>18751</c:v>
                </c:pt>
                <c:pt idx="283">
                  <c:v>18752</c:v>
                </c:pt>
                <c:pt idx="284">
                  <c:v>18753</c:v>
                </c:pt>
                <c:pt idx="285">
                  <c:v>18754</c:v>
                </c:pt>
                <c:pt idx="286">
                  <c:v>18755</c:v>
                </c:pt>
                <c:pt idx="287">
                  <c:v>18756</c:v>
                </c:pt>
                <c:pt idx="288">
                  <c:v>18757</c:v>
                </c:pt>
                <c:pt idx="289">
                  <c:v>18758</c:v>
                </c:pt>
                <c:pt idx="290">
                  <c:v>18759</c:v>
                </c:pt>
                <c:pt idx="291">
                  <c:v>18760</c:v>
                </c:pt>
                <c:pt idx="292">
                  <c:v>18761</c:v>
                </c:pt>
                <c:pt idx="293">
                  <c:v>18762</c:v>
                </c:pt>
                <c:pt idx="294">
                  <c:v>18763</c:v>
                </c:pt>
                <c:pt idx="295">
                  <c:v>18764</c:v>
                </c:pt>
                <c:pt idx="296">
                  <c:v>18765</c:v>
                </c:pt>
                <c:pt idx="297">
                  <c:v>18766</c:v>
                </c:pt>
                <c:pt idx="298">
                  <c:v>18767</c:v>
                </c:pt>
                <c:pt idx="299">
                  <c:v>18768</c:v>
                </c:pt>
                <c:pt idx="300">
                  <c:v>18769</c:v>
                </c:pt>
                <c:pt idx="301">
                  <c:v>18770</c:v>
                </c:pt>
                <c:pt idx="302">
                  <c:v>18771</c:v>
                </c:pt>
                <c:pt idx="303">
                  <c:v>18772</c:v>
                </c:pt>
                <c:pt idx="304">
                  <c:v>18773</c:v>
                </c:pt>
                <c:pt idx="305">
                  <c:v>18774</c:v>
                </c:pt>
                <c:pt idx="306">
                  <c:v>18775</c:v>
                </c:pt>
                <c:pt idx="307">
                  <c:v>18776</c:v>
                </c:pt>
                <c:pt idx="308">
                  <c:v>18777</c:v>
                </c:pt>
                <c:pt idx="309">
                  <c:v>18778</c:v>
                </c:pt>
                <c:pt idx="310">
                  <c:v>18779</c:v>
                </c:pt>
                <c:pt idx="311">
                  <c:v>18780</c:v>
                </c:pt>
                <c:pt idx="312">
                  <c:v>18781</c:v>
                </c:pt>
                <c:pt idx="313">
                  <c:v>18782</c:v>
                </c:pt>
                <c:pt idx="314">
                  <c:v>18783</c:v>
                </c:pt>
                <c:pt idx="315">
                  <c:v>18784</c:v>
                </c:pt>
                <c:pt idx="316">
                  <c:v>18785</c:v>
                </c:pt>
                <c:pt idx="317">
                  <c:v>18786</c:v>
                </c:pt>
                <c:pt idx="318">
                  <c:v>18787</c:v>
                </c:pt>
                <c:pt idx="319">
                  <c:v>18788</c:v>
                </c:pt>
                <c:pt idx="320">
                  <c:v>18789</c:v>
                </c:pt>
                <c:pt idx="321">
                  <c:v>18790</c:v>
                </c:pt>
                <c:pt idx="322">
                  <c:v>18791</c:v>
                </c:pt>
                <c:pt idx="323">
                  <c:v>18792</c:v>
                </c:pt>
                <c:pt idx="324">
                  <c:v>18793</c:v>
                </c:pt>
                <c:pt idx="325">
                  <c:v>18794</c:v>
                </c:pt>
                <c:pt idx="326">
                  <c:v>18795</c:v>
                </c:pt>
                <c:pt idx="327">
                  <c:v>18796</c:v>
                </c:pt>
                <c:pt idx="328">
                  <c:v>18797</c:v>
                </c:pt>
                <c:pt idx="329">
                  <c:v>18798</c:v>
                </c:pt>
                <c:pt idx="330">
                  <c:v>18799</c:v>
                </c:pt>
                <c:pt idx="331">
                  <c:v>18800</c:v>
                </c:pt>
                <c:pt idx="332">
                  <c:v>18801</c:v>
                </c:pt>
                <c:pt idx="333">
                  <c:v>18802</c:v>
                </c:pt>
                <c:pt idx="334">
                  <c:v>18803</c:v>
                </c:pt>
                <c:pt idx="335">
                  <c:v>18804</c:v>
                </c:pt>
                <c:pt idx="336">
                  <c:v>18805</c:v>
                </c:pt>
                <c:pt idx="337">
                  <c:v>18806</c:v>
                </c:pt>
                <c:pt idx="338">
                  <c:v>18807</c:v>
                </c:pt>
                <c:pt idx="339">
                  <c:v>18808</c:v>
                </c:pt>
                <c:pt idx="340">
                  <c:v>18809</c:v>
                </c:pt>
                <c:pt idx="341">
                  <c:v>18810</c:v>
                </c:pt>
                <c:pt idx="342">
                  <c:v>18811</c:v>
                </c:pt>
                <c:pt idx="343">
                  <c:v>18812</c:v>
                </c:pt>
                <c:pt idx="344">
                  <c:v>18813</c:v>
                </c:pt>
                <c:pt idx="345">
                  <c:v>18814</c:v>
                </c:pt>
                <c:pt idx="346">
                  <c:v>18815</c:v>
                </c:pt>
                <c:pt idx="347">
                  <c:v>18816</c:v>
                </c:pt>
                <c:pt idx="348">
                  <c:v>18817</c:v>
                </c:pt>
                <c:pt idx="349">
                  <c:v>18818</c:v>
                </c:pt>
                <c:pt idx="350">
                  <c:v>18819</c:v>
                </c:pt>
                <c:pt idx="351">
                  <c:v>18820</c:v>
                </c:pt>
                <c:pt idx="352">
                  <c:v>18821</c:v>
                </c:pt>
                <c:pt idx="353">
                  <c:v>18822</c:v>
                </c:pt>
                <c:pt idx="354">
                  <c:v>18823</c:v>
                </c:pt>
                <c:pt idx="355">
                  <c:v>18824</c:v>
                </c:pt>
                <c:pt idx="356">
                  <c:v>18825</c:v>
                </c:pt>
                <c:pt idx="357">
                  <c:v>18826</c:v>
                </c:pt>
                <c:pt idx="358">
                  <c:v>18827</c:v>
                </c:pt>
                <c:pt idx="359">
                  <c:v>18828</c:v>
                </c:pt>
                <c:pt idx="360">
                  <c:v>18829</c:v>
                </c:pt>
                <c:pt idx="361">
                  <c:v>18830</c:v>
                </c:pt>
                <c:pt idx="362">
                  <c:v>18831</c:v>
                </c:pt>
                <c:pt idx="363">
                  <c:v>18832</c:v>
                </c:pt>
                <c:pt idx="364">
                  <c:v>18833</c:v>
                </c:pt>
                <c:pt idx="365">
                  <c:v>18834</c:v>
                </c:pt>
                <c:pt idx="366">
                  <c:v>18835</c:v>
                </c:pt>
                <c:pt idx="367">
                  <c:v>18836</c:v>
                </c:pt>
                <c:pt idx="368">
                  <c:v>18837</c:v>
                </c:pt>
                <c:pt idx="369">
                  <c:v>18838</c:v>
                </c:pt>
                <c:pt idx="370">
                  <c:v>18839</c:v>
                </c:pt>
                <c:pt idx="371">
                  <c:v>18840</c:v>
                </c:pt>
                <c:pt idx="372">
                  <c:v>18841</c:v>
                </c:pt>
                <c:pt idx="373">
                  <c:v>18842</c:v>
                </c:pt>
              </c:numCache>
            </c:numRef>
          </c:xVal>
          <c:yVal>
            <c:numRef>
              <c:f>Sheet1!$A$2:$NJ$2</c:f>
              <c:numCache>
                <c:formatCode>General</c:formatCode>
                <c:ptCount val="37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2.4902059201001601E-2</c:v>
                </c:pt>
                <c:pt idx="184">
                  <c:v>3.6054604887514802E-2</c:v>
                </c:pt>
                <c:pt idx="185">
                  <c:v>7.6423091876706206E-2</c:v>
                </c:pt>
                <c:pt idx="186">
                  <c:v>9.1039263369377496E-2</c:v>
                </c:pt>
                <c:pt idx="187">
                  <c:v>0.113326603686021</c:v>
                </c:pt>
                <c:pt idx="188">
                  <c:v>0.11129527598529899</c:v>
                </c:pt>
                <c:pt idx="189">
                  <c:v>0.10159074746576301</c:v>
                </c:pt>
                <c:pt idx="190">
                  <c:v>0.11113160310466499</c:v>
                </c:pt>
                <c:pt idx="191">
                  <c:v>7.4258095877323099E-2</c:v>
                </c:pt>
                <c:pt idx="192">
                  <c:v>6.3495830260453995E-2</c:v>
                </c:pt>
                <c:pt idx="193">
                  <c:v>5.2703557979257E-2</c:v>
                </c:pt>
                <c:pt idx="194">
                  <c:v>4.2704007279327098E-2</c:v>
                </c:pt>
                <c:pt idx="195">
                  <c:v>3.4823384640029403E-2</c:v>
                </c:pt>
                <c:pt idx="196">
                  <c:v>3.5371508872973398E-2</c:v>
                </c:pt>
                <c:pt idx="197">
                  <c:v>3.5231656413893801E-2</c:v>
                </c:pt>
                <c:pt idx="198">
                  <c:v>3.5811010019501502E-2</c:v>
                </c:pt>
                <c:pt idx="199">
                  <c:v>3.65757031914756E-2</c:v>
                </c:pt>
                <c:pt idx="200">
                  <c:v>3.7342475923238999E-2</c:v>
                </c:pt>
                <c:pt idx="201">
                  <c:v>3.1786328404861001E-2</c:v>
                </c:pt>
                <c:pt idx="202">
                  <c:v>2.89604770958218E-2</c:v>
                </c:pt>
                <c:pt idx="203">
                  <c:v>2.9726876625937902E-2</c:v>
                </c:pt>
                <c:pt idx="204">
                  <c:v>2.6844153938525201E-2</c:v>
                </c:pt>
                <c:pt idx="205">
                  <c:v>2.6405521853782799E-2</c:v>
                </c:pt>
                <c:pt idx="206">
                  <c:v>2.62664817709179E-2</c:v>
                </c:pt>
                <c:pt idx="207">
                  <c:v>2.9232678206679599E-2</c:v>
                </c:pt>
                <c:pt idx="208">
                  <c:v>2.7666578892292199E-2</c:v>
                </c:pt>
                <c:pt idx="209">
                  <c:v>2.4922552236045101E-2</c:v>
                </c:pt>
                <c:pt idx="210">
                  <c:v>2.3767955491838199E-2</c:v>
                </c:pt>
                <c:pt idx="211">
                  <c:v>2.6144514601063901E-2</c:v>
                </c:pt>
                <c:pt idx="212">
                  <c:v>2.63708978768863E-2</c:v>
                </c:pt>
                <c:pt idx="213">
                  <c:v>2.7935537912008E-2</c:v>
                </c:pt>
                <c:pt idx="214">
                  <c:v>3.1556674388568101E-2</c:v>
                </c:pt>
                <c:pt idx="215">
                  <c:v>2.9833948703773198E-2</c:v>
                </c:pt>
                <c:pt idx="216">
                  <c:v>2.46058533816878E-2</c:v>
                </c:pt>
                <c:pt idx="217">
                  <c:v>2.3485044543719299E-2</c:v>
                </c:pt>
                <c:pt idx="218">
                  <c:v>2.5389131709936199E-2</c:v>
                </c:pt>
                <c:pt idx="219">
                  <c:v>2.5811149898052499E-2</c:v>
                </c:pt>
                <c:pt idx="220">
                  <c:v>2.6316682878217298E-2</c:v>
                </c:pt>
                <c:pt idx="221">
                  <c:v>2.42694301817198E-2</c:v>
                </c:pt>
                <c:pt idx="222">
                  <c:v>2.43238672806847E-2</c:v>
                </c:pt>
                <c:pt idx="223">
                  <c:v>2.1669284644287402E-2</c:v>
                </c:pt>
                <c:pt idx="224">
                  <c:v>2.0317317122205001E-2</c:v>
                </c:pt>
                <c:pt idx="225">
                  <c:v>2.2670694666056201E-2</c:v>
                </c:pt>
                <c:pt idx="226">
                  <c:v>2.4076148872603099E-2</c:v>
                </c:pt>
                <c:pt idx="227">
                  <c:v>2.5845502426242398E-2</c:v>
                </c:pt>
                <c:pt idx="228">
                  <c:v>2.3075750566555999E-2</c:v>
                </c:pt>
                <c:pt idx="229">
                  <c:v>2.2740406698781801E-2</c:v>
                </c:pt>
                <c:pt idx="230">
                  <c:v>2.0498780158433299E-2</c:v>
                </c:pt>
                <c:pt idx="231">
                  <c:v>2.0143526897877299E-2</c:v>
                </c:pt>
                <c:pt idx="232">
                  <c:v>2.3021493283866101E-2</c:v>
                </c:pt>
                <c:pt idx="233">
                  <c:v>2.2846175934332899E-2</c:v>
                </c:pt>
                <c:pt idx="234">
                  <c:v>2.19111333274483E-2</c:v>
                </c:pt>
                <c:pt idx="235">
                  <c:v>2.15759162111731E-2</c:v>
                </c:pt>
                <c:pt idx="236">
                  <c:v>2.26894245193958E-2</c:v>
                </c:pt>
                <c:pt idx="237">
                  <c:v>1.9607602743071599E-2</c:v>
                </c:pt>
                <c:pt idx="238">
                  <c:v>1.8859423510189401E-2</c:v>
                </c:pt>
                <c:pt idx="239">
                  <c:v>2.0203741389823001E-2</c:v>
                </c:pt>
                <c:pt idx="240">
                  <c:v>2.1174554517266499E-2</c:v>
                </c:pt>
                <c:pt idx="241">
                  <c:v>2.2562677440508199E-2</c:v>
                </c:pt>
                <c:pt idx="242">
                  <c:v>2.1436673246987899E-2</c:v>
                </c:pt>
                <c:pt idx="243">
                  <c:v>2.0650275106656599E-2</c:v>
                </c:pt>
                <c:pt idx="244">
                  <c:v>1.86366726526811E-2</c:v>
                </c:pt>
                <c:pt idx="245">
                  <c:v>1.7508868267436601E-2</c:v>
                </c:pt>
                <c:pt idx="246">
                  <c:v>1.8597570100075799E-2</c:v>
                </c:pt>
                <c:pt idx="247">
                  <c:v>1.9198315165583901E-2</c:v>
                </c:pt>
                <c:pt idx="248">
                  <c:v>1.94010807565296E-2</c:v>
                </c:pt>
                <c:pt idx="249">
                  <c:v>1.89565772112145E-2</c:v>
                </c:pt>
                <c:pt idx="250">
                  <c:v>1.7587321975295001E-2</c:v>
                </c:pt>
                <c:pt idx="251">
                  <c:v>1.7584687747716699E-2</c:v>
                </c:pt>
                <c:pt idx="252">
                  <c:v>1.7564456258867898E-2</c:v>
                </c:pt>
                <c:pt idx="253">
                  <c:v>1.9546538882698101E-2</c:v>
                </c:pt>
                <c:pt idx="254">
                  <c:v>1.8439294109634699E-2</c:v>
                </c:pt>
                <c:pt idx="255">
                  <c:v>1.8468410996382498E-2</c:v>
                </c:pt>
                <c:pt idx="256">
                  <c:v>1.8514765451371401E-2</c:v>
                </c:pt>
                <c:pt idx="257">
                  <c:v>1.8653904567598301E-2</c:v>
                </c:pt>
                <c:pt idx="258">
                  <c:v>1.70187003502647E-2</c:v>
                </c:pt>
                <c:pt idx="259">
                  <c:v>1.65549748887759E-2</c:v>
                </c:pt>
                <c:pt idx="260">
                  <c:v>1.8246634237660601E-2</c:v>
                </c:pt>
                <c:pt idx="261">
                  <c:v>1.8657983583151499E-2</c:v>
                </c:pt>
                <c:pt idx="262">
                  <c:v>1.9588873242976899E-2</c:v>
                </c:pt>
                <c:pt idx="263">
                  <c:v>1.9606429386957801E-2</c:v>
                </c:pt>
                <c:pt idx="264">
                  <c:v>2.1611781835942E-2</c:v>
                </c:pt>
                <c:pt idx="265">
                  <c:v>1.8961663690788801E-2</c:v>
                </c:pt>
                <c:pt idx="266">
                  <c:v>1.8307933272008602E-2</c:v>
                </c:pt>
                <c:pt idx="267">
                  <c:v>1.9325474067898502E-2</c:v>
                </c:pt>
                <c:pt idx="268">
                  <c:v>2.0265386050330399E-2</c:v>
                </c:pt>
                <c:pt idx="269">
                  <c:v>1.9783802217249999E-2</c:v>
                </c:pt>
                <c:pt idx="270">
                  <c:v>1.9575121046345099E-2</c:v>
                </c:pt>
                <c:pt idx="271">
                  <c:v>1.9802287165831701E-2</c:v>
                </c:pt>
                <c:pt idx="272">
                  <c:v>1.7718688107554399E-2</c:v>
                </c:pt>
                <c:pt idx="273">
                  <c:v>1.7089825022228201E-2</c:v>
                </c:pt>
                <c:pt idx="274">
                  <c:v>1.8654814719989799E-2</c:v>
                </c:pt>
                <c:pt idx="275">
                  <c:v>1.8930481335707901E-2</c:v>
                </c:pt>
                <c:pt idx="276">
                  <c:v>1.8757968641689798E-2</c:v>
                </c:pt>
                <c:pt idx="277">
                  <c:v>1.82465141492246E-2</c:v>
                </c:pt>
                <c:pt idx="278">
                  <c:v>1.7543428295994201E-2</c:v>
                </c:pt>
                <c:pt idx="279">
                  <c:v>1.6467806882733301E-2</c:v>
                </c:pt>
                <c:pt idx="280">
                  <c:v>1.66880780996485E-2</c:v>
                </c:pt>
                <c:pt idx="281">
                  <c:v>1.84253747920737E-2</c:v>
                </c:pt>
                <c:pt idx="282">
                  <c:v>1.9426546128047801E-2</c:v>
                </c:pt>
                <c:pt idx="283">
                  <c:v>1.9639000174871701E-2</c:v>
                </c:pt>
                <c:pt idx="284">
                  <c:v>1.9158717554459501E-2</c:v>
                </c:pt>
                <c:pt idx="285">
                  <c:v>1.93213728498072E-2</c:v>
                </c:pt>
                <c:pt idx="286">
                  <c:v>1.7890240544927001E-2</c:v>
                </c:pt>
                <c:pt idx="287">
                  <c:v>1.9277470660746799E-2</c:v>
                </c:pt>
                <c:pt idx="288">
                  <c:v>1.94219708846377E-2</c:v>
                </c:pt>
                <c:pt idx="289">
                  <c:v>1.9118374448769199E-2</c:v>
                </c:pt>
                <c:pt idx="290">
                  <c:v>1.89674919963124E-2</c:v>
                </c:pt>
                <c:pt idx="291">
                  <c:v>1.96104573804433E-2</c:v>
                </c:pt>
                <c:pt idx="292">
                  <c:v>1.8797628425722499E-2</c:v>
                </c:pt>
                <c:pt idx="293">
                  <c:v>1.7056530403024499E-2</c:v>
                </c:pt>
                <c:pt idx="294">
                  <c:v>1.65071165487823E-2</c:v>
                </c:pt>
                <c:pt idx="295">
                  <c:v>1.7890339398244699E-2</c:v>
                </c:pt>
                <c:pt idx="296">
                  <c:v>1.7780565110791201E-2</c:v>
                </c:pt>
                <c:pt idx="297">
                  <c:v>1.8341154358057801E-2</c:v>
                </c:pt>
                <c:pt idx="298">
                  <c:v>1.7076327187780498E-2</c:v>
                </c:pt>
                <c:pt idx="299">
                  <c:v>1.69412598197324E-2</c:v>
                </c:pt>
                <c:pt idx="300">
                  <c:v>1.56188634228192E-2</c:v>
                </c:pt>
                <c:pt idx="301">
                  <c:v>1.5587986572953801E-2</c:v>
                </c:pt>
                <c:pt idx="302">
                  <c:v>1.6892010204194601E-2</c:v>
                </c:pt>
                <c:pt idx="303">
                  <c:v>1.7756732384301602E-2</c:v>
                </c:pt>
                <c:pt idx="304">
                  <c:v>1.8137309739870901E-2</c:v>
                </c:pt>
                <c:pt idx="305">
                  <c:v>1.8405682672208299E-2</c:v>
                </c:pt>
                <c:pt idx="306">
                  <c:v>1.83048952569673E-2</c:v>
                </c:pt>
                <c:pt idx="307">
                  <c:v>1.6010145078337999E-2</c:v>
                </c:pt>
                <c:pt idx="308">
                  <c:v>1.5478773936455401E-2</c:v>
                </c:pt>
                <c:pt idx="309">
                  <c:v>1.57379075604605E-2</c:v>
                </c:pt>
                <c:pt idx="310">
                  <c:v>1.7013414514372899E-2</c:v>
                </c:pt>
                <c:pt idx="311">
                  <c:v>1.8721247775587299E-2</c:v>
                </c:pt>
                <c:pt idx="312">
                  <c:v>1.89554236466512E-2</c:v>
                </c:pt>
                <c:pt idx="313">
                  <c:v>1.7078914513368699E-2</c:v>
                </c:pt>
                <c:pt idx="314">
                  <c:v>1.6061229626916699E-2</c:v>
                </c:pt>
                <c:pt idx="315">
                  <c:v>1.5834409162034602E-2</c:v>
                </c:pt>
                <c:pt idx="316">
                  <c:v>1.7140495984255301E-2</c:v>
                </c:pt>
                <c:pt idx="317">
                  <c:v>1.8744373736095901E-2</c:v>
                </c:pt>
                <c:pt idx="318">
                  <c:v>1.9985938709134302E-2</c:v>
                </c:pt>
                <c:pt idx="319">
                  <c:v>1.86510975461462E-2</c:v>
                </c:pt>
                <c:pt idx="320">
                  <c:v>1.7228986339682801E-2</c:v>
                </c:pt>
                <c:pt idx="321">
                  <c:v>1.5668305174487002E-2</c:v>
                </c:pt>
                <c:pt idx="322">
                  <c:v>1.5140918326243501E-2</c:v>
                </c:pt>
                <c:pt idx="323">
                  <c:v>1.5980974608514099E-2</c:v>
                </c:pt>
                <c:pt idx="324">
                  <c:v>1.6070815691211899E-2</c:v>
                </c:pt>
                <c:pt idx="325">
                  <c:v>1.5958662977147799E-2</c:v>
                </c:pt>
                <c:pt idx="326">
                  <c:v>1.64564420471447E-2</c:v>
                </c:pt>
                <c:pt idx="327">
                  <c:v>1.5699780046657199E-2</c:v>
                </c:pt>
                <c:pt idx="328">
                  <c:v>1.3989546505154601E-2</c:v>
                </c:pt>
                <c:pt idx="329">
                  <c:v>1.39903781357492E-2</c:v>
                </c:pt>
                <c:pt idx="330">
                  <c:v>1.5688400784686401E-2</c:v>
                </c:pt>
                <c:pt idx="331">
                  <c:v>1.60836447374695E-2</c:v>
                </c:pt>
                <c:pt idx="332">
                  <c:v>1.5701046091667299E-2</c:v>
                </c:pt>
                <c:pt idx="333">
                  <c:v>1.54040926353212E-2</c:v>
                </c:pt>
                <c:pt idx="334">
                  <c:v>1.5514852557936E-2</c:v>
                </c:pt>
                <c:pt idx="335">
                  <c:v>1.4385808825888099E-2</c:v>
                </c:pt>
                <c:pt idx="336">
                  <c:v>1.38517891916913E-2</c:v>
                </c:pt>
                <c:pt idx="337">
                  <c:v>1.47277519699761E-2</c:v>
                </c:pt>
                <c:pt idx="338">
                  <c:v>1.4771295500025299E-2</c:v>
                </c:pt>
                <c:pt idx="339">
                  <c:v>1.47774531843522E-2</c:v>
                </c:pt>
                <c:pt idx="340">
                  <c:v>1.4831648794378E-2</c:v>
                </c:pt>
                <c:pt idx="341">
                  <c:v>1.47356566749694E-2</c:v>
                </c:pt>
                <c:pt idx="342">
                  <c:v>1.3487322852142601E-2</c:v>
                </c:pt>
                <c:pt idx="343">
                  <c:v>1.3143679319954501E-2</c:v>
                </c:pt>
                <c:pt idx="344">
                  <c:v>1.3065093383170299E-2</c:v>
                </c:pt>
                <c:pt idx="345">
                  <c:v>1.4010088646315901E-2</c:v>
                </c:pt>
                <c:pt idx="346">
                  <c:v>1.40653000637838E-2</c:v>
                </c:pt>
                <c:pt idx="347">
                  <c:v>1.42485502955799E-2</c:v>
                </c:pt>
                <c:pt idx="348">
                  <c:v>1.4068111663736499E-2</c:v>
                </c:pt>
                <c:pt idx="349">
                  <c:v>1.34146099541752E-2</c:v>
                </c:pt>
                <c:pt idx="350">
                  <c:v>1.2444384231447799E-2</c:v>
                </c:pt>
                <c:pt idx="351">
                  <c:v>1.35984589352037E-2</c:v>
                </c:pt>
                <c:pt idx="352">
                  <c:v>1.43391156585612E-2</c:v>
                </c:pt>
                <c:pt idx="353">
                  <c:v>1.5271708819951E-2</c:v>
                </c:pt>
                <c:pt idx="354">
                  <c:v>1.4720136063809499E-2</c:v>
                </c:pt>
                <c:pt idx="355">
                  <c:v>1.43586199238136E-2</c:v>
                </c:pt>
                <c:pt idx="356">
                  <c:v>1.4547643507513501E-2</c:v>
                </c:pt>
                <c:pt idx="357">
                  <c:v>1.3843154203241699E-2</c:v>
                </c:pt>
                <c:pt idx="358">
                  <c:v>1.45960540457989E-2</c:v>
                </c:pt>
                <c:pt idx="359">
                  <c:v>1.4158398203794101E-2</c:v>
                </c:pt>
                <c:pt idx="360">
                  <c:v>1.4010120135763001E-2</c:v>
                </c:pt>
                <c:pt idx="361">
                  <c:v>1.3714816235919599E-2</c:v>
                </c:pt>
                <c:pt idx="362">
                  <c:v>1.32273407248633E-2</c:v>
                </c:pt>
                <c:pt idx="363">
                  <c:v>1.26715102845048E-2</c:v>
                </c:pt>
                <c:pt idx="364">
                  <c:v>1.2551559732564801E-2</c:v>
                </c:pt>
                <c:pt idx="365">
                  <c:v>1.33378060921336E-2</c:v>
                </c:pt>
                <c:pt idx="366">
                  <c:v>1.3086437716060001E-2</c:v>
                </c:pt>
                <c:pt idx="367">
                  <c:v>1.3182132547772099E-2</c:v>
                </c:pt>
                <c:pt idx="368">
                  <c:v>1.3043848911463599E-2</c:v>
                </c:pt>
                <c:pt idx="369">
                  <c:v>1.26933686363257E-2</c:v>
                </c:pt>
                <c:pt idx="370">
                  <c:v>1.2625839394853599E-2</c:v>
                </c:pt>
                <c:pt idx="371">
                  <c:v>1.2467863461106499E-2</c:v>
                </c:pt>
                <c:pt idx="372">
                  <c:v>1.27796196735818E-2</c:v>
                </c:pt>
                <c:pt idx="373">
                  <c:v>1.30461411400613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C37-4557-B7FA-36C728B3CE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1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48739495798318E-2"/>
          <c:y val="2.9312288613303268E-2"/>
          <c:w val="0.95630252100840341"/>
          <c:h val="0.941375422773393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986B-4694-A8D8-B6F620664379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986B-4694-A8D8-B6F620664379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986B-4694-A8D8-B6F620664379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986B-4694-A8D8-B6F620664379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986B-4694-A8D8-B6F620664379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986B-4694-A8D8-B6F620664379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986B-4694-A8D8-B6F620664379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986B-4694-A8D8-B6F620664379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986B-4694-A8D8-B6F620664379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986B-4694-A8D8-B6F620664379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986B-4694-A8D8-B6F620664379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986B-4694-A8D8-B6F620664379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986B-4694-A8D8-B6F620664379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986B-4694-A8D8-B6F620664379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986B-4694-A8D8-B6F620664379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986B-4694-A8D8-B6F620664379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986B-4694-A8D8-B6F620664379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986B-4694-A8D8-B6F620664379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986B-4694-A8D8-B6F620664379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986B-4694-A8D8-B6F620664379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986B-4694-A8D8-B6F620664379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986B-4694-A8D8-B6F620664379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986B-4694-A8D8-B6F620664379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986B-4694-A8D8-B6F620664379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986B-4694-A8D8-B6F620664379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986B-4694-A8D8-B6F620664379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986B-4694-A8D8-B6F620664379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986B-4694-A8D8-B6F620664379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986B-4694-A8D8-B6F620664379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986B-4694-A8D8-B6F620664379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986B-4694-A8D8-B6F620664379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986B-4694-A8D8-B6F620664379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986B-4694-A8D8-B6F620664379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986B-4694-A8D8-B6F620664379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986B-4694-A8D8-B6F620664379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986B-4694-A8D8-B6F620664379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986B-4694-A8D8-B6F620664379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986B-4694-A8D8-B6F620664379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986B-4694-A8D8-B6F620664379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986B-4694-A8D8-B6F620664379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986B-4694-A8D8-B6F620664379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986B-4694-A8D8-B6F620664379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986B-4694-A8D8-B6F620664379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986B-4694-A8D8-B6F620664379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986B-4694-A8D8-B6F620664379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986B-4694-A8D8-B6F620664379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986B-4694-A8D8-B6F620664379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986B-4694-A8D8-B6F620664379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986B-4694-A8D8-B6F620664379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986B-4694-A8D8-B6F620664379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986B-4694-A8D8-B6F620664379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986B-4694-A8D8-B6F620664379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986B-4694-A8D8-B6F620664379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986B-4694-A8D8-B6F620664379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327354</c:v>
                </c:pt>
                <c:pt idx="1">
                  <c:v>347638</c:v>
                </c:pt>
                <c:pt idx="2">
                  <c:v>319124</c:v>
                </c:pt>
                <c:pt idx="3">
                  <c:v>269221</c:v>
                </c:pt>
                <c:pt idx="4">
                  <c:v>306693</c:v>
                </c:pt>
                <c:pt idx="5">
                  <c:v>433501</c:v>
                </c:pt>
                <c:pt idx="6">
                  <c:v>300296</c:v>
                </c:pt>
                <c:pt idx="7">
                  <c:v>311600</c:v>
                </c:pt>
                <c:pt idx="8">
                  <c:v>302108</c:v>
                </c:pt>
                <c:pt idx="9">
                  <c:v>266714</c:v>
                </c:pt>
                <c:pt idx="10">
                  <c:v>269135</c:v>
                </c:pt>
                <c:pt idx="11">
                  <c:v>268140</c:v>
                </c:pt>
                <c:pt idx="12">
                  <c:v>264356</c:v>
                </c:pt>
                <c:pt idx="13">
                  <c:v>274748</c:v>
                </c:pt>
                <c:pt idx="14">
                  <c:v>297067</c:v>
                </c:pt>
                <c:pt idx="15">
                  <c:v>311980</c:v>
                </c:pt>
                <c:pt idx="16">
                  <c:v>331907</c:v>
                </c:pt>
                <c:pt idx="17">
                  <c:v>449651</c:v>
                </c:pt>
                <c:pt idx="18">
                  <c:v>465959</c:v>
                </c:pt>
                <c:pt idx="19">
                  <c:v>426985</c:v>
                </c:pt>
                <c:pt idx="20">
                  <c:v>368596</c:v>
                </c:pt>
                <c:pt idx="21">
                  <c:v>357128</c:v>
                </c:pt>
                <c:pt idx="22">
                  <c:v>326892</c:v>
                </c:pt>
                <c:pt idx="23">
                  <c:v>410014</c:v>
                </c:pt>
                <c:pt idx="24">
                  <c:v>578220</c:v>
                </c:pt>
                <c:pt idx="25">
                  <c:v>830234</c:v>
                </c:pt>
                <c:pt idx="26">
                  <c:v>5361984</c:v>
                </c:pt>
                <c:pt idx="27">
                  <c:v>3635377</c:v>
                </c:pt>
                <c:pt idx="28">
                  <c:v>1088979</c:v>
                </c:pt>
                <c:pt idx="29">
                  <c:v>719353</c:v>
                </c:pt>
                <c:pt idx="30">
                  <c:v>1262274</c:v>
                </c:pt>
                <c:pt idx="31">
                  <c:v>1027547</c:v>
                </c:pt>
                <c:pt idx="32">
                  <c:v>1119504</c:v>
                </c:pt>
                <c:pt idx="33">
                  <c:v>811436</c:v>
                </c:pt>
                <c:pt idx="34">
                  <c:v>710528</c:v>
                </c:pt>
                <c:pt idx="35">
                  <c:v>410801</c:v>
                </c:pt>
                <c:pt idx="36">
                  <c:v>399723</c:v>
                </c:pt>
                <c:pt idx="37">
                  <c:v>473235</c:v>
                </c:pt>
                <c:pt idx="38">
                  <c:v>275736</c:v>
                </c:pt>
                <c:pt idx="39">
                  <c:v>339825</c:v>
                </c:pt>
                <c:pt idx="40">
                  <c:v>299595</c:v>
                </c:pt>
                <c:pt idx="41">
                  <c:v>292789</c:v>
                </c:pt>
                <c:pt idx="42">
                  <c:v>258638</c:v>
                </c:pt>
                <c:pt idx="43">
                  <c:v>340555</c:v>
                </c:pt>
                <c:pt idx="44">
                  <c:v>518811</c:v>
                </c:pt>
                <c:pt idx="45">
                  <c:v>718751</c:v>
                </c:pt>
                <c:pt idx="46">
                  <c:v>437267</c:v>
                </c:pt>
                <c:pt idx="47">
                  <c:v>312745</c:v>
                </c:pt>
                <c:pt idx="48">
                  <c:v>280967</c:v>
                </c:pt>
                <c:pt idx="49">
                  <c:v>233912</c:v>
                </c:pt>
                <c:pt idx="50">
                  <c:v>253315</c:v>
                </c:pt>
                <c:pt idx="51">
                  <c:v>226965</c:v>
                </c:pt>
                <c:pt idx="52">
                  <c:v>228815</c:v>
                </c:pt>
                <c:pt idx="53">
                  <c:v>2240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986B-4694-A8D8-B6F6206643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6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559652928416486E-2"/>
          <c:y val="2.9312288613303268E-2"/>
          <c:w val="0.95488069414316701"/>
          <c:h val="0.941375422773393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5A15-45DD-9A1E-98FEAFBDD138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5A15-45DD-9A1E-98FEAFBDD138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5A15-45DD-9A1E-98FEAFBDD138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5A15-45DD-9A1E-98FEAFBDD138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5A15-45DD-9A1E-98FEAFBDD138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5A15-45DD-9A1E-98FEAFBDD138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5A15-45DD-9A1E-98FEAFBDD138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5A15-45DD-9A1E-98FEAFBDD138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5A15-45DD-9A1E-98FEAFBDD138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5A15-45DD-9A1E-98FEAFBDD138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5A15-45DD-9A1E-98FEAFBDD138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5A15-45DD-9A1E-98FEAFBDD138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5A15-45DD-9A1E-98FEAFBDD138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5A15-45DD-9A1E-98FEAFBDD138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5A15-45DD-9A1E-98FEAFBDD138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5A15-45DD-9A1E-98FEAFBDD138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5A15-45DD-9A1E-98FEAFBDD138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5A15-45DD-9A1E-98FEAFBDD138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5A15-45DD-9A1E-98FEAFBDD138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5A15-45DD-9A1E-98FEAFBDD138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5A15-45DD-9A1E-98FEAFBDD138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5A15-45DD-9A1E-98FEAFBDD138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5A15-45DD-9A1E-98FEAFBDD138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5A15-45DD-9A1E-98FEAFBDD138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5A15-45DD-9A1E-98FEAFBDD138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5A15-45DD-9A1E-98FEAFBDD138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5A15-45DD-9A1E-98FEAFBDD138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5A15-45DD-9A1E-98FEAFBDD138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5A15-45DD-9A1E-98FEAFBDD138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5A15-45DD-9A1E-98FEAFBDD138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5A15-45DD-9A1E-98FEAFBDD138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5A15-45DD-9A1E-98FEAFBDD138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5A15-45DD-9A1E-98FEAFBDD138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5A15-45DD-9A1E-98FEAFBDD138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5A15-45DD-9A1E-98FEAFBDD138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5A15-45DD-9A1E-98FEAFBDD138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5A15-45DD-9A1E-98FEAFBDD138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5A15-45DD-9A1E-98FEAFBDD138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5A15-45DD-9A1E-98FEAFBDD138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5A15-45DD-9A1E-98FEAFBDD138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5A15-45DD-9A1E-98FEAFBDD138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5A15-45DD-9A1E-98FEAFBDD138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5A15-45DD-9A1E-98FEAFBDD138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5A15-45DD-9A1E-98FEAFBDD138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5A15-45DD-9A1E-98FEAFBDD138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5A15-45DD-9A1E-98FEAFBDD138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5A15-45DD-9A1E-98FEAFBDD138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5A15-45DD-9A1E-98FEAFBDD138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5A15-45DD-9A1E-98FEAFBDD138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5A15-45DD-9A1E-98FEAFBDD138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5A15-45DD-9A1E-98FEAFBDD138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5A15-45DD-9A1E-98FEAFBDD138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5A15-45DD-9A1E-98FEAFBDD138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5A15-45DD-9A1E-98FEAFBDD138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44134315</c:v>
                </c:pt>
                <c:pt idx="1">
                  <c:v>44272131</c:v>
                </c:pt>
                <c:pt idx="2">
                  <c:v>45060625</c:v>
                </c:pt>
                <c:pt idx="3">
                  <c:v>43941552</c:v>
                </c:pt>
                <c:pt idx="4">
                  <c:v>44644282</c:v>
                </c:pt>
                <c:pt idx="5">
                  <c:v>43519359</c:v>
                </c:pt>
                <c:pt idx="6">
                  <c:v>42088283</c:v>
                </c:pt>
                <c:pt idx="7">
                  <c:v>42869669</c:v>
                </c:pt>
                <c:pt idx="8">
                  <c:v>41903235</c:v>
                </c:pt>
                <c:pt idx="9">
                  <c:v>41952977</c:v>
                </c:pt>
                <c:pt idx="10">
                  <c:v>41822014</c:v>
                </c:pt>
                <c:pt idx="11">
                  <c:v>41625835</c:v>
                </c:pt>
                <c:pt idx="12">
                  <c:v>42529248</c:v>
                </c:pt>
                <c:pt idx="13">
                  <c:v>43092019</c:v>
                </c:pt>
                <c:pt idx="14">
                  <c:v>44617151</c:v>
                </c:pt>
                <c:pt idx="15">
                  <c:v>42572970</c:v>
                </c:pt>
                <c:pt idx="16">
                  <c:v>43981172</c:v>
                </c:pt>
                <c:pt idx="17">
                  <c:v>42466373</c:v>
                </c:pt>
                <c:pt idx="18">
                  <c:v>43939773</c:v>
                </c:pt>
                <c:pt idx="19">
                  <c:v>44034187</c:v>
                </c:pt>
                <c:pt idx="20">
                  <c:v>44268549</c:v>
                </c:pt>
                <c:pt idx="21">
                  <c:v>40654600</c:v>
                </c:pt>
                <c:pt idx="22">
                  <c:v>42109421</c:v>
                </c:pt>
                <c:pt idx="23">
                  <c:v>44678351</c:v>
                </c:pt>
                <c:pt idx="24">
                  <c:v>44364118</c:v>
                </c:pt>
                <c:pt idx="25">
                  <c:v>42782129</c:v>
                </c:pt>
                <c:pt idx="26">
                  <c:v>49858140</c:v>
                </c:pt>
                <c:pt idx="27">
                  <c:v>47558468</c:v>
                </c:pt>
                <c:pt idx="28">
                  <c:v>44716172</c:v>
                </c:pt>
                <c:pt idx="29">
                  <c:v>44331146</c:v>
                </c:pt>
                <c:pt idx="30">
                  <c:v>44417489</c:v>
                </c:pt>
                <c:pt idx="31">
                  <c:v>44388381</c:v>
                </c:pt>
                <c:pt idx="32">
                  <c:v>43721678</c:v>
                </c:pt>
                <c:pt idx="33">
                  <c:v>44108759</c:v>
                </c:pt>
                <c:pt idx="34">
                  <c:v>43251011</c:v>
                </c:pt>
                <c:pt idx="35">
                  <c:v>40684032</c:v>
                </c:pt>
                <c:pt idx="36">
                  <c:v>44458714</c:v>
                </c:pt>
                <c:pt idx="37">
                  <c:v>44094755</c:v>
                </c:pt>
                <c:pt idx="38">
                  <c:v>45354437</c:v>
                </c:pt>
                <c:pt idx="39">
                  <c:v>46996509</c:v>
                </c:pt>
                <c:pt idx="40">
                  <c:v>45792200</c:v>
                </c:pt>
                <c:pt idx="41">
                  <c:v>43945704</c:v>
                </c:pt>
                <c:pt idx="42">
                  <c:v>47627520</c:v>
                </c:pt>
                <c:pt idx="43">
                  <c:v>44762248</c:v>
                </c:pt>
                <c:pt idx="44">
                  <c:v>46085980</c:v>
                </c:pt>
                <c:pt idx="45">
                  <c:v>47316904</c:v>
                </c:pt>
                <c:pt idx="46">
                  <c:v>47408425</c:v>
                </c:pt>
                <c:pt idx="47">
                  <c:v>45308345</c:v>
                </c:pt>
                <c:pt idx="48">
                  <c:v>46453170</c:v>
                </c:pt>
                <c:pt idx="49">
                  <c:v>43773525</c:v>
                </c:pt>
                <c:pt idx="50">
                  <c:v>45400361</c:v>
                </c:pt>
                <c:pt idx="51">
                  <c:v>47093044</c:v>
                </c:pt>
                <c:pt idx="52">
                  <c:v>45670074</c:v>
                </c:pt>
                <c:pt idx="53">
                  <c:v>466377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5A15-45DD-9A1E-98FEAFBDD1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50000000"/>
          <c:min val="40000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146507666098807E-2"/>
          <c:y val="3.4188034188034191E-2"/>
          <c:w val="0.95570698466780235"/>
          <c:h val="0.93162393162393164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1</c:v>
                </c:pt>
                <c:pt idx="1">
                  <c:v>11</c:v>
                </c:pt>
                <c:pt idx="2">
                  <c:v>10</c:v>
                </c:pt>
                <c:pt idx="3">
                  <c:v>11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1</c:v>
                </c:pt>
                <c:pt idx="8">
                  <c:v>10</c:v>
                </c:pt>
                <c:pt idx="9">
                  <c:v>11</c:v>
                </c:pt>
                <c:pt idx="10">
                  <c:v>11</c:v>
                </c:pt>
                <c:pt idx="11">
                  <c:v>9</c:v>
                </c:pt>
                <c:pt idx="12">
                  <c:v>13</c:v>
                </c:pt>
                <c:pt idx="13">
                  <c:v>12</c:v>
                </c:pt>
                <c:pt idx="14">
                  <c:v>17</c:v>
                </c:pt>
                <c:pt idx="15">
                  <c:v>12</c:v>
                </c:pt>
                <c:pt idx="16">
                  <c:v>10</c:v>
                </c:pt>
                <c:pt idx="17">
                  <c:v>8</c:v>
                </c:pt>
                <c:pt idx="18">
                  <c:v>8</c:v>
                </c:pt>
                <c:pt idx="19">
                  <c:v>9</c:v>
                </c:pt>
                <c:pt idx="20">
                  <c:v>16</c:v>
                </c:pt>
                <c:pt idx="21">
                  <c:v>7</c:v>
                </c:pt>
                <c:pt idx="22">
                  <c:v>7</c:v>
                </c:pt>
                <c:pt idx="23">
                  <c:v>12</c:v>
                </c:pt>
                <c:pt idx="24">
                  <c:v>10</c:v>
                </c:pt>
                <c:pt idx="25">
                  <c:v>8</c:v>
                </c:pt>
                <c:pt idx="26">
                  <c:v>11</c:v>
                </c:pt>
                <c:pt idx="27">
                  <c:v>9</c:v>
                </c:pt>
                <c:pt idx="28">
                  <c:v>9</c:v>
                </c:pt>
                <c:pt idx="29">
                  <c:v>9</c:v>
                </c:pt>
                <c:pt idx="30">
                  <c:v>9</c:v>
                </c:pt>
                <c:pt idx="31">
                  <c:v>8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8</c:v>
                </c:pt>
                <c:pt idx="38">
                  <c:v>8</c:v>
                </c:pt>
                <c:pt idx="39">
                  <c:v>7</c:v>
                </c:pt>
                <c:pt idx="40">
                  <c:v>8</c:v>
                </c:pt>
                <c:pt idx="41">
                  <c:v>8</c:v>
                </c:pt>
                <c:pt idx="42">
                  <c:v>7</c:v>
                </c:pt>
                <c:pt idx="43">
                  <c:v>8</c:v>
                </c:pt>
                <c:pt idx="44">
                  <c:v>7</c:v>
                </c:pt>
                <c:pt idx="45">
                  <c:v>8</c:v>
                </c:pt>
                <c:pt idx="46">
                  <c:v>8</c:v>
                </c:pt>
                <c:pt idx="47">
                  <c:v>7</c:v>
                </c:pt>
                <c:pt idx="48">
                  <c:v>7</c:v>
                </c:pt>
                <c:pt idx="49">
                  <c:v>8</c:v>
                </c:pt>
                <c:pt idx="50">
                  <c:v>8</c:v>
                </c:pt>
                <c:pt idx="51">
                  <c:v>8</c:v>
                </c:pt>
                <c:pt idx="52">
                  <c:v>7</c:v>
                </c:pt>
                <c:pt idx="53">
                  <c:v>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A0B-454D-B379-F5D5F6EDE72E}"/>
            </c:ext>
          </c:extLst>
        </c:ser>
        <c:ser>
          <c:idx val="1"/>
          <c:order val="1"/>
          <c:spPr>
            <a:ln w="28575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2</c:v>
                </c:pt>
                <c:pt idx="24">
                  <c:v>3</c:v>
                </c:pt>
                <c:pt idx="25">
                  <c:v>4</c:v>
                </c:pt>
                <c:pt idx="26">
                  <c:v>100</c:v>
                </c:pt>
                <c:pt idx="27">
                  <c:v>51</c:v>
                </c:pt>
                <c:pt idx="28">
                  <c:v>16</c:v>
                </c:pt>
                <c:pt idx="29">
                  <c:v>7</c:v>
                </c:pt>
                <c:pt idx="30">
                  <c:v>11</c:v>
                </c:pt>
                <c:pt idx="31">
                  <c:v>8</c:v>
                </c:pt>
                <c:pt idx="32">
                  <c:v>7</c:v>
                </c:pt>
                <c:pt idx="33">
                  <c:v>6</c:v>
                </c:pt>
                <c:pt idx="34">
                  <c:v>5</c:v>
                </c:pt>
                <c:pt idx="35">
                  <c:v>3</c:v>
                </c:pt>
                <c:pt idx="36">
                  <c:v>3</c:v>
                </c:pt>
                <c:pt idx="37">
                  <c:v>4</c:v>
                </c:pt>
                <c:pt idx="38">
                  <c:v>3</c:v>
                </c:pt>
                <c:pt idx="39">
                  <c:v>4</c:v>
                </c:pt>
                <c:pt idx="40">
                  <c:v>3</c:v>
                </c:pt>
                <c:pt idx="41">
                  <c:v>3</c:v>
                </c:pt>
                <c:pt idx="42">
                  <c:v>2</c:v>
                </c:pt>
                <c:pt idx="43">
                  <c:v>3</c:v>
                </c:pt>
                <c:pt idx="44">
                  <c:v>6</c:v>
                </c:pt>
                <c:pt idx="45">
                  <c:v>7</c:v>
                </c:pt>
                <c:pt idx="46">
                  <c:v>5</c:v>
                </c:pt>
                <c:pt idx="47">
                  <c:v>3</c:v>
                </c:pt>
                <c:pt idx="48">
                  <c:v>3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A0B-454D-B379-F5D5F6EDE7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90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11899791231733E-2"/>
          <c:y val="3.4188034188034191E-2"/>
          <c:w val="0.95657620041753655"/>
          <c:h val="0.93162393162393164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CE0E2D"/>
              </a:solidFill>
              <a:prstDash val="solid"/>
            </a:ln>
          </c:spPr>
          <c:marker>
            <c:symbol val="none"/>
          </c:marker>
          <c:xVal>
            <c:numRef>
              <c:f>Sheet1!$A$1:$YS$1</c:f>
              <c:numCache>
                <c:formatCode>General</c:formatCode>
                <c:ptCount val="669"/>
                <c:pt idx="0">
                  <c:v>18263</c:v>
                </c:pt>
                <c:pt idx="1">
                  <c:v>18264</c:v>
                </c:pt>
                <c:pt idx="2">
                  <c:v>18267</c:v>
                </c:pt>
                <c:pt idx="3">
                  <c:v>18268</c:v>
                </c:pt>
                <c:pt idx="4">
                  <c:v>18269</c:v>
                </c:pt>
                <c:pt idx="5">
                  <c:v>18270</c:v>
                </c:pt>
                <c:pt idx="6">
                  <c:v>18271</c:v>
                </c:pt>
                <c:pt idx="7">
                  <c:v>18274</c:v>
                </c:pt>
                <c:pt idx="8">
                  <c:v>18275</c:v>
                </c:pt>
                <c:pt idx="9">
                  <c:v>18276</c:v>
                </c:pt>
                <c:pt idx="10">
                  <c:v>18277</c:v>
                </c:pt>
                <c:pt idx="11">
                  <c:v>18278</c:v>
                </c:pt>
                <c:pt idx="12">
                  <c:v>18282</c:v>
                </c:pt>
                <c:pt idx="13">
                  <c:v>18283</c:v>
                </c:pt>
                <c:pt idx="14">
                  <c:v>18284</c:v>
                </c:pt>
                <c:pt idx="15">
                  <c:v>18285</c:v>
                </c:pt>
                <c:pt idx="16">
                  <c:v>18288</c:v>
                </c:pt>
                <c:pt idx="17">
                  <c:v>18289</c:v>
                </c:pt>
                <c:pt idx="18">
                  <c:v>18290</c:v>
                </c:pt>
                <c:pt idx="19">
                  <c:v>18291</c:v>
                </c:pt>
                <c:pt idx="20">
                  <c:v>18292</c:v>
                </c:pt>
                <c:pt idx="21">
                  <c:v>18295</c:v>
                </c:pt>
                <c:pt idx="22">
                  <c:v>18296</c:v>
                </c:pt>
                <c:pt idx="23">
                  <c:v>18297</c:v>
                </c:pt>
                <c:pt idx="24">
                  <c:v>18298</c:v>
                </c:pt>
                <c:pt idx="25">
                  <c:v>18299</c:v>
                </c:pt>
                <c:pt idx="26">
                  <c:v>18302</c:v>
                </c:pt>
                <c:pt idx="27">
                  <c:v>18303</c:v>
                </c:pt>
                <c:pt idx="28">
                  <c:v>18304</c:v>
                </c:pt>
                <c:pt idx="29">
                  <c:v>18305</c:v>
                </c:pt>
                <c:pt idx="30">
                  <c:v>18306</c:v>
                </c:pt>
                <c:pt idx="31">
                  <c:v>18310</c:v>
                </c:pt>
                <c:pt idx="32">
                  <c:v>18311</c:v>
                </c:pt>
                <c:pt idx="33">
                  <c:v>18312</c:v>
                </c:pt>
                <c:pt idx="34">
                  <c:v>18313</c:v>
                </c:pt>
                <c:pt idx="35">
                  <c:v>18316</c:v>
                </c:pt>
                <c:pt idx="36">
                  <c:v>18317</c:v>
                </c:pt>
                <c:pt idx="37">
                  <c:v>18318</c:v>
                </c:pt>
                <c:pt idx="38">
                  <c:v>18319</c:v>
                </c:pt>
                <c:pt idx="39">
                  <c:v>18320</c:v>
                </c:pt>
                <c:pt idx="40">
                  <c:v>18323</c:v>
                </c:pt>
                <c:pt idx="41">
                  <c:v>18324</c:v>
                </c:pt>
                <c:pt idx="42">
                  <c:v>18325</c:v>
                </c:pt>
                <c:pt idx="43">
                  <c:v>18326</c:v>
                </c:pt>
                <c:pt idx="44">
                  <c:v>18327</c:v>
                </c:pt>
                <c:pt idx="45">
                  <c:v>18330</c:v>
                </c:pt>
                <c:pt idx="46">
                  <c:v>18331</c:v>
                </c:pt>
                <c:pt idx="47">
                  <c:v>18332</c:v>
                </c:pt>
                <c:pt idx="48">
                  <c:v>18333</c:v>
                </c:pt>
                <c:pt idx="49">
                  <c:v>18334</c:v>
                </c:pt>
                <c:pt idx="50">
                  <c:v>18337</c:v>
                </c:pt>
                <c:pt idx="51">
                  <c:v>18338</c:v>
                </c:pt>
                <c:pt idx="52">
                  <c:v>18339</c:v>
                </c:pt>
                <c:pt idx="53">
                  <c:v>18340</c:v>
                </c:pt>
                <c:pt idx="54">
                  <c:v>18341</c:v>
                </c:pt>
                <c:pt idx="55">
                  <c:v>18344</c:v>
                </c:pt>
                <c:pt idx="56">
                  <c:v>18345</c:v>
                </c:pt>
                <c:pt idx="57">
                  <c:v>18346</c:v>
                </c:pt>
                <c:pt idx="58">
                  <c:v>18347</c:v>
                </c:pt>
                <c:pt idx="59">
                  <c:v>18348</c:v>
                </c:pt>
                <c:pt idx="60">
                  <c:v>18351</c:v>
                </c:pt>
                <c:pt idx="61">
                  <c:v>18352</c:v>
                </c:pt>
                <c:pt idx="62">
                  <c:v>18353</c:v>
                </c:pt>
                <c:pt idx="63">
                  <c:v>18354</c:v>
                </c:pt>
                <c:pt idx="64">
                  <c:v>18355</c:v>
                </c:pt>
                <c:pt idx="65">
                  <c:v>18358</c:v>
                </c:pt>
                <c:pt idx="66">
                  <c:v>18359</c:v>
                </c:pt>
                <c:pt idx="67">
                  <c:v>18360</c:v>
                </c:pt>
                <c:pt idx="68">
                  <c:v>18361</c:v>
                </c:pt>
                <c:pt idx="69">
                  <c:v>18365</c:v>
                </c:pt>
                <c:pt idx="70">
                  <c:v>18366</c:v>
                </c:pt>
                <c:pt idx="71">
                  <c:v>18367</c:v>
                </c:pt>
                <c:pt idx="72">
                  <c:v>18368</c:v>
                </c:pt>
                <c:pt idx="73">
                  <c:v>18369</c:v>
                </c:pt>
                <c:pt idx="74">
                  <c:v>18372</c:v>
                </c:pt>
                <c:pt idx="75">
                  <c:v>18373</c:v>
                </c:pt>
                <c:pt idx="76">
                  <c:v>18374</c:v>
                </c:pt>
                <c:pt idx="77">
                  <c:v>18375</c:v>
                </c:pt>
                <c:pt idx="78">
                  <c:v>18376</c:v>
                </c:pt>
                <c:pt idx="79">
                  <c:v>18379</c:v>
                </c:pt>
                <c:pt idx="80">
                  <c:v>18380</c:v>
                </c:pt>
                <c:pt idx="81">
                  <c:v>18381</c:v>
                </c:pt>
                <c:pt idx="82">
                  <c:v>18382</c:v>
                </c:pt>
                <c:pt idx="83">
                  <c:v>18383</c:v>
                </c:pt>
                <c:pt idx="84">
                  <c:v>18386</c:v>
                </c:pt>
                <c:pt idx="85">
                  <c:v>18387</c:v>
                </c:pt>
                <c:pt idx="86">
                  <c:v>18388</c:v>
                </c:pt>
                <c:pt idx="87">
                  <c:v>18389</c:v>
                </c:pt>
                <c:pt idx="88">
                  <c:v>18390</c:v>
                </c:pt>
                <c:pt idx="89">
                  <c:v>18393</c:v>
                </c:pt>
                <c:pt idx="90">
                  <c:v>18394</c:v>
                </c:pt>
                <c:pt idx="91">
                  <c:v>18395</c:v>
                </c:pt>
                <c:pt idx="92">
                  <c:v>18396</c:v>
                </c:pt>
                <c:pt idx="93">
                  <c:v>18397</c:v>
                </c:pt>
                <c:pt idx="94">
                  <c:v>18400</c:v>
                </c:pt>
                <c:pt idx="95">
                  <c:v>18401</c:v>
                </c:pt>
                <c:pt idx="96">
                  <c:v>18402</c:v>
                </c:pt>
                <c:pt idx="97">
                  <c:v>18403</c:v>
                </c:pt>
                <c:pt idx="98">
                  <c:v>18404</c:v>
                </c:pt>
                <c:pt idx="99">
                  <c:v>18408</c:v>
                </c:pt>
                <c:pt idx="100">
                  <c:v>18409</c:v>
                </c:pt>
                <c:pt idx="101">
                  <c:v>18410</c:v>
                </c:pt>
                <c:pt idx="102">
                  <c:v>18411</c:v>
                </c:pt>
                <c:pt idx="103">
                  <c:v>18414</c:v>
                </c:pt>
                <c:pt idx="104">
                  <c:v>18415</c:v>
                </c:pt>
                <c:pt idx="105">
                  <c:v>18416</c:v>
                </c:pt>
                <c:pt idx="106">
                  <c:v>18417</c:v>
                </c:pt>
                <c:pt idx="107">
                  <c:v>18418</c:v>
                </c:pt>
                <c:pt idx="108">
                  <c:v>18421</c:v>
                </c:pt>
                <c:pt idx="109">
                  <c:v>18422</c:v>
                </c:pt>
                <c:pt idx="110">
                  <c:v>18423</c:v>
                </c:pt>
                <c:pt idx="111">
                  <c:v>18424</c:v>
                </c:pt>
                <c:pt idx="112">
                  <c:v>18425</c:v>
                </c:pt>
                <c:pt idx="113">
                  <c:v>18428</c:v>
                </c:pt>
                <c:pt idx="114">
                  <c:v>18429</c:v>
                </c:pt>
                <c:pt idx="115">
                  <c:v>18430</c:v>
                </c:pt>
                <c:pt idx="116">
                  <c:v>18431</c:v>
                </c:pt>
                <c:pt idx="117">
                  <c:v>18432</c:v>
                </c:pt>
                <c:pt idx="118">
                  <c:v>18435</c:v>
                </c:pt>
                <c:pt idx="119">
                  <c:v>18436</c:v>
                </c:pt>
                <c:pt idx="120">
                  <c:v>18437</c:v>
                </c:pt>
                <c:pt idx="121">
                  <c:v>18438</c:v>
                </c:pt>
                <c:pt idx="122">
                  <c:v>18439</c:v>
                </c:pt>
                <c:pt idx="123">
                  <c:v>18442</c:v>
                </c:pt>
                <c:pt idx="124">
                  <c:v>18443</c:v>
                </c:pt>
                <c:pt idx="125">
                  <c:v>18444</c:v>
                </c:pt>
                <c:pt idx="126">
                  <c:v>18445</c:v>
                </c:pt>
                <c:pt idx="127">
                  <c:v>18449</c:v>
                </c:pt>
                <c:pt idx="128">
                  <c:v>18450</c:v>
                </c:pt>
                <c:pt idx="129">
                  <c:v>18451</c:v>
                </c:pt>
                <c:pt idx="130">
                  <c:v>18452</c:v>
                </c:pt>
                <c:pt idx="131">
                  <c:v>18453</c:v>
                </c:pt>
                <c:pt idx="132">
                  <c:v>18456</c:v>
                </c:pt>
                <c:pt idx="133">
                  <c:v>18457</c:v>
                </c:pt>
                <c:pt idx="134">
                  <c:v>18458</c:v>
                </c:pt>
                <c:pt idx="135">
                  <c:v>18459</c:v>
                </c:pt>
                <c:pt idx="136">
                  <c:v>18460</c:v>
                </c:pt>
                <c:pt idx="137">
                  <c:v>18463</c:v>
                </c:pt>
                <c:pt idx="138">
                  <c:v>18464</c:v>
                </c:pt>
                <c:pt idx="139">
                  <c:v>18465</c:v>
                </c:pt>
                <c:pt idx="140">
                  <c:v>18466</c:v>
                </c:pt>
                <c:pt idx="141">
                  <c:v>18467</c:v>
                </c:pt>
                <c:pt idx="142">
                  <c:v>18470</c:v>
                </c:pt>
                <c:pt idx="143">
                  <c:v>18471</c:v>
                </c:pt>
                <c:pt idx="144">
                  <c:v>18472</c:v>
                </c:pt>
                <c:pt idx="145">
                  <c:v>18473</c:v>
                </c:pt>
                <c:pt idx="146">
                  <c:v>18474</c:v>
                </c:pt>
                <c:pt idx="147">
                  <c:v>18477</c:v>
                </c:pt>
                <c:pt idx="148">
                  <c:v>18478</c:v>
                </c:pt>
                <c:pt idx="149">
                  <c:v>18479</c:v>
                </c:pt>
                <c:pt idx="150">
                  <c:v>18480</c:v>
                </c:pt>
                <c:pt idx="151">
                  <c:v>18481</c:v>
                </c:pt>
                <c:pt idx="152">
                  <c:v>18484</c:v>
                </c:pt>
                <c:pt idx="153">
                  <c:v>18485</c:v>
                </c:pt>
                <c:pt idx="154">
                  <c:v>18486</c:v>
                </c:pt>
                <c:pt idx="155">
                  <c:v>18487</c:v>
                </c:pt>
                <c:pt idx="156">
                  <c:v>18488</c:v>
                </c:pt>
                <c:pt idx="157">
                  <c:v>18491</c:v>
                </c:pt>
                <c:pt idx="158">
                  <c:v>18492</c:v>
                </c:pt>
                <c:pt idx="159">
                  <c:v>18493</c:v>
                </c:pt>
                <c:pt idx="160">
                  <c:v>18494</c:v>
                </c:pt>
                <c:pt idx="161">
                  <c:v>18495</c:v>
                </c:pt>
                <c:pt idx="162">
                  <c:v>18498</c:v>
                </c:pt>
                <c:pt idx="163">
                  <c:v>18499</c:v>
                </c:pt>
                <c:pt idx="164">
                  <c:v>18500</c:v>
                </c:pt>
                <c:pt idx="165">
                  <c:v>18501</c:v>
                </c:pt>
                <c:pt idx="166">
                  <c:v>18502</c:v>
                </c:pt>
                <c:pt idx="167">
                  <c:v>18505</c:v>
                </c:pt>
                <c:pt idx="168">
                  <c:v>18506</c:v>
                </c:pt>
                <c:pt idx="169">
                  <c:v>18507</c:v>
                </c:pt>
                <c:pt idx="170">
                  <c:v>18508</c:v>
                </c:pt>
                <c:pt idx="171">
                  <c:v>18509</c:v>
                </c:pt>
                <c:pt idx="172">
                  <c:v>18513</c:v>
                </c:pt>
                <c:pt idx="173">
                  <c:v>18514</c:v>
                </c:pt>
                <c:pt idx="174">
                  <c:v>18515</c:v>
                </c:pt>
                <c:pt idx="175">
                  <c:v>18516</c:v>
                </c:pt>
                <c:pt idx="176">
                  <c:v>18519</c:v>
                </c:pt>
                <c:pt idx="177">
                  <c:v>18520</c:v>
                </c:pt>
                <c:pt idx="178">
                  <c:v>18521</c:v>
                </c:pt>
                <c:pt idx="179">
                  <c:v>18522</c:v>
                </c:pt>
                <c:pt idx="180">
                  <c:v>18523</c:v>
                </c:pt>
                <c:pt idx="181">
                  <c:v>18526</c:v>
                </c:pt>
                <c:pt idx="182">
                  <c:v>18527</c:v>
                </c:pt>
                <c:pt idx="183">
                  <c:v>18528</c:v>
                </c:pt>
                <c:pt idx="184">
                  <c:v>18529</c:v>
                </c:pt>
                <c:pt idx="185">
                  <c:v>18530</c:v>
                </c:pt>
                <c:pt idx="186">
                  <c:v>18533</c:v>
                </c:pt>
                <c:pt idx="187">
                  <c:v>18534</c:v>
                </c:pt>
                <c:pt idx="188">
                  <c:v>18535</c:v>
                </c:pt>
                <c:pt idx="189">
                  <c:v>18536</c:v>
                </c:pt>
                <c:pt idx="190">
                  <c:v>18537</c:v>
                </c:pt>
                <c:pt idx="191">
                  <c:v>18540</c:v>
                </c:pt>
                <c:pt idx="192">
                  <c:v>18541</c:v>
                </c:pt>
                <c:pt idx="193">
                  <c:v>18542</c:v>
                </c:pt>
                <c:pt idx="194">
                  <c:v>18543</c:v>
                </c:pt>
                <c:pt idx="195">
                  <c:v>18544</c:v>
                </c:pt>
                <c:pt idx="196">
                  <c:v>18547</c:v>
                </c:pt>
                <c:pt idx="197">
                  <c:v>18548</c:v>
                </c:pt>
                <c:pt idx="198">
                  <c:v>18549</c:v>
                </c:pt>
                <c:pt idx="199">
                  <c:v>18550</c:v>
                </c:pt>
                <c:pt idx="200">
                  <c:v>18551</c:v>
                </c:pt>
                <c:pt idx="201">
                  <c:v>18554</c:v>
                </c:pt>
                <c:pt idx="202">
                  <c:v>18555</c:v>
                </c:pt>
                <c:pt idx="203">
                  <c:v>18556</c:v>
                </c:pt>
                <c:pt idx="204">
                  <c:v>18557</c:v>
                </c:pt>
                <c:pt idx="205">
                  <c:v>18558</c:v>
                </c:pt>
                <c:pt idx="206">
                  <c:v>18561</c:v>
                </c:pt>
                <c:pt idx="207">
                  <c:v>18562</c:v>
                </c:pt>
                <c:pt idx="208">
                  <c:v>18563</c:v>
                </c:pt>
                <c:pt idx="209">
                  <c:v>18564</c:v>
                </c:pt>
                <c:pt idx="210">
                  <c:v>18565</c:v>
                </c:pt>
                <c:pt idx="211">
                  <c:v>18568</c:v>
                </c:pt>
                <c:pt idx="212">
                  <c:v>18569</c:v>
                </c:pt>
                <c:pt idx="213">
                  <c:v>18570</c:v>
                </c:pt>
                <c:pt idx="214">
                  <c:v>18571</c:v>
                </c:pt>
                <c:pt idx="215">
                  <c:v>18572</c:v>
                </c:pt>
                <c:pt idx="216">
                  <c:v>18575</c:v>
                </c:pt>
                <c:pt idx="217">
                  <c:v>18576</c:v>
                </c:pt>
                <c:pt idx="218">
                  <c:v>18577</c:v>
                </c:pt>
                <c:pt idx="219">
                  <c:v>18578</c:v>
                </c:pt>
                <c:pt idx="220">
                  <c:v>18579</c:v>
                </c:pt>
                <c:pt idx="221">
                  <c:v>18582</c:v>
                </c:pt>
                <c:pt idx="222">
                  <c:v>18583</c:v>
                </c:pt>
                <c:pt idx="223">
                  <c:v>18584</c:v>
                </c:pt>
                <c:pt idx="224">
                  <c:v>18585</c:v>
                </c:pt>
                <c:pt idx="225">
                  <c:v>18586</c:v>
                </c:pt>
                <c:pt idx="226">
                  <c:v>18589</c:v>
                </c:pt>
                <c:pt idx="227">
                  <c:v>18590</c:v>
                </c:pt>
                <c:pt idx="228">
                  <c:v>18591</c:v>
                </c:pt>
                <c:pt idx="229">
                  <c:v>18593</c:v>
                </c:pt>
                <c:pt idx="230">
                  <c:v>18596</c:v>
                </c:pt>
                <c:pt idx="231">
                  <c:v>18597</c:v>
                </c:pt>
                <c:pt idx="232">
                  <c:v>18598</c:v>
                </c:pt>
                <c:pt idx="233">
                  <c:v>18599</c:v>
                </c:pt>
                <c:pt idx="234">
                  <c:v>18600</c:v>
                </c:pt>
                <c:pt idx="235">
                  <c:v>18603</c:v>
                </c:pt>
                <c:pt idx="236">
                  <c:v>18604</c:v>
                </c:pt>
                <c:pt idx="237">
                  <c:v>18605</c:v>
                </c:pt>
                <c:pt idx="238">
                  <c:v>18606</c:v>
                </c:pt>
                <c:pt idx="239">
                  <c:v>18607</c:v>
                </c:pt>
                <c:pt idx="240">
                  <c:v>18610</c:v>
                </c:pt>
                <c:pt idx="241">
                  <c:v>18611</c:v>
                </c:pt>
                <c:pt idx="242">
                  <c:v>18612</c:v>
                </c:pt>
                <c:pt idx="243">
                  <c:v>18613</c:v>
                </c:pt>
                <c:pt idx="244">
                  <c:v>18614</c:v>
                </c:pt>
                <c:pt idx="245">
                  <c:v>18617</c:v>
                </c:pt>
                <c:pt idx="246">
                  <c:v>18618</c:v>
                </c:pt>
                <c:pt idx="247">
                  <c:v>18619</c:v>
                </c:pt>
                <c:pt idx="248">
                  <c:v>18620</c:v>
                </c:pt>
                <c:pt idx="249">
                  <c:v>18624</c:v>
                </c:pt>
                <c:pt idx="250">
                  <c:v>18625</c:v>
                </c:pt>
                <c:pt idx="251">
                  <c:v>18626</c:v>
                </c:pt>
                <c:pt idx="252">
                  <c:v>18627</c:v>
                </c:pt>
                <c:pt idx="253">
                  <c:v>18631</c:v>
                </c:pt>
                <c:pt idx="254">
                  <c:v>18632</c:v>
                </c:pt>
                <c:pt idx="255">
                  <c:v>18633</c:v>
                </c:pt>
                <c:pt idx="256">
                  <c:v>18634</c:v>
                </c:pt>
                <c:pt idx="257">
                  <c:v>18635</c:v>
                </c:pt>
                <c:pt idx="258">
                  <c:v>18638</c:v>
                </c:pt>
                <c:pt idx="259">
                  <c:v>18639</c:v>
                </c:pt>
                <c:pt idx="260">
                  <c:v>18640</c:v>
                </c:pt>
                <c:pt idx="261">
                  <c:v>18641</c:v>
                </c:pt>
                <c:pt idx="262">
                  <c:v>18642</c:v>
                </c:pt>
                <c:pt idx="263">
                  <c:v>18646</c:v>
                </c:pt>
                <c:pt idx="264">
                  <c:v>18647</c:v>
                </c:pt>
                <c:pt idx="265">
                  <c:v>18648</c:v>
                </c:pt>
                <c:pt idx="266">
                  <c:v>18649</c:v>
                </c:pt>
                <c:pt idx="267">
                  <c:v>18652</c:v>
                </c:pt>
                <c:pt idx="268">
                  <c:v>18653</c:v>
                </c:pt>
                <c:pt idx="269">
                  <c:v>18654</c:v>
                </c:pt>
                <c:pt idx="270">
                  <c:v>18655</c:v>
                </c:pt>
                <c:pt idx="271">
                  <c:v>18656</c:v>
                </c:pt>
                <c:pt idx="272">
                  <c:v>18659</c:v>
                </c:pt>
                <c:pt idx="273">
                  <c:v>18660</c:v>
                </c:pt>
                <c:pt idx="274">
                  <c:v>18661</c:v>
                </c:pt>
                <c:pt idx="275">
                  <c:v>18662</c:v>
                </c:pt>
                <c:pt idx="276">
                  <c:v>18663</c:v>
                </c:pt>
                <c:pt idx="277">
                  <c:v>18666</c:v>
                </c:pt>
                <c:pt idx="278">
                  <c:v>18667</c:v>
                </c:pt>
                <c:pt idx="279">
                  <c:v>18668</c:v>
                </c:pt>
                <c:pt idx="280">
                  <c:v>18669</c:v>
                </c:pt>
                <c:pt idx="281">
                  <c:v>18670</c:v>
                </c:pt>
                <c:pt idx="282">
                  <c:v>18674</c:v>
                </c:pt>
                <c:pt idx="283">
                  <c:v>18675</c:v>
                </c:pt>
                <c:pt idx="284">
                  <c:v>18676</c:v>
                </c:pt>
                <c:pt idx="285">
                  <c:v>18677</c:v>
                </c:pt>
                <c:pt idx="286">
                  <c:v>18680</c:v>
                </c:pt>
                <c:pt idx="287">
                  <c:v>18681</c:v>
                </c:pt>
                <c:pt idx="288">
                  <c:v>18682</c:v>
                </c:pt>
                <c:pt idx="289">
                  <c:v>18683</c:v>
                </c:pt>
                <c:pt idx="290">
                  <c:v>18684</c:v>
                </c:pt>
                <c:pt idx="291">
                  <c:v>18687</c:v>
                </c:pt>
                <c:pt idx="292">
                  <c:v>18688</c:v>
                </c:pt>
                <c:pt idx="293">
                  <c:v>18689</c:v>
                </c:pt>
                <c:pt idx="294">
                  <c:v>18690</c:v>
                </c:pt>
                <c:pt idx="295">
                  <c:v>18691</c:v>
                </c:pt>
                <c:pt idx="296">
                  <c:v>18694</c:v>
                </c:pt>
                <c:pt idx="297">
                  <c:v>18695</c:v>
                </c:pt>
                <c:pt idx="298">
                  <c:v>18696</c:v>
                </c:pt>
                <c:pt idx="299">
                  <c:v>18697</c:v>
                </c:pt>
                <c:pt idx="300">
                  <c:v>18698</c:v>
                </c:pt>
                <c:pt idx="301">
                  <c:v>18701</c:v>
                </c:pt>
                <c:pt idx="302">
                  <c:v>18702</c:v>
                </c:pt>
                <c:pt idx="303">
                  <c:v>18703</c:v>
                </c:pt>
                <c:pt idx="304">
                  <c:v>18704</c:v>
                </c:pt>
                <c:pt idx="305">
                  <c:v>18705</c:v>
                </c:pt>
                <c:pt idx="306">
                  <c:v>18708</c:v>
                </c:pt>
                <c:pt idx="307">
                  <c:v>18709</c:v>
                </c:pt>
                <c:pt idx="308">
                  <c:v>18710</c:v>
                </c:pt>
                <c:pt idx="309">
                  <c:v>18711</c:v>
                </c:pt>
                <c:pt idx="310">
                  <c:v>18712</c:v>
                </c:pt>
                <c:pt idx="311">
                  <c:v>18715</c:v>
                </c:pt>
                <c:pt idx="312">
                  <c:v>18716</c:v>
                </c:pt>
                <c:pt idx="313">
                  <c:v>18717</c:v>
                </c:pt>
                <c:pt idx="314">
                  <c:v>18718</c:v>
                </c:pt>
                <c:pt idx="315">
                  <c:v>18722</c:v>
                </c:pt>
                <c:pt idx="316">
                  <c:v>18723</c:v>
                </c:pt>
                <c:pt idx="317">
                  <c:v>18724</c:v>
                </c:pt>
                <c:pt idx="318">
                  <c:v>18725</c:v>
                </c:pt>
                <c:pt idx="319">
                  <c:v>18726</c:v>
                </c:pt>
                <c:pt idx="320">
                  <c:v>18729</c:v>
                </c:pt>
                <c:pt idx="321">
                  <c:v>18730</c:v>
                </c:pt>
                <c:pt idx="322">
                  <c:v>18731</c:v>
                </c:pt>
                <c:pt idx="323">
                  <c:v>18732</c:v>
                </c:pt>
                <c:pt idx="324">
                  <c:v>18733</c:v>
                </c:pt>
                <c:pt idx="325">
                  <c:v>18736</c:v>
                </c:pt>
                <c:pt idx="326">
                  <c:v>18737</c:v>
                </c:pt>
                <c:pt idx="327">
                  <c:v>18738</c:v>
                </c:pt>
                <c:pt idx="328">
                  <c:v>18739</c:v>
                </c:pt>
                <c:pt idx="329">
                  <c:v>18740</c:v>
                </c:pt>
                <c:pt idx="330">
                  <c:v>18743</c:v>
                </c:pt>
                <c:pt idx="331">
                  <c:v>18744</c:v>
                </c:pt>
                <c:pt idx="332">
                  <c:v>18745</c:v>
                </c:pt>
                <c:pt idx="333">
                  <c:v>18746</c:v>
                </c:pt>
                <c:pt idx="334">
                  <c:v>18747</c:v>
                </c:pt>
                <c:pt idx="335">
                  <c:v>18750</c:v>
                </c:pt>
                <c:pt idx="336">
                  <c:v>18751</c:v>
                </c:pt>
                <c:pt idx="337">
                  <c:v>18752</c:v>
                </c:pt>
                <c:pt idx="338">
                  <c:v>18753</c:v>
                </c:pt>
                <c:pt idx="339">
                  <c:v>18754</c:v>
                </c:pt>
                <c:pt idx="340">
                  <c:v>18757</c:v>
                </c:pt>
                <c:pt idx="341">
                  <c:v>18758</c:v>
                </c:pt>
                <c:pt idx="342">
                  <c:v>18759</c:v>
                </c:pt>
                <c:pt idx="343">
                  <c:v>18760</c:v>
                </c:pt>
                <c:pt idx="344">
                  <c:v>18761</c:v>
                </c:pt>
                <c:pt idx="345">
                  <c:v>18764</c:v>
                </c:pt>
                <c:pt idx="346">
                  <c:v>18765</c:v>
                </c:pt>
                <c:pt idx="347">
                  <c:v>18766</c:v>
                </c:pt>
                <c:pt idx="348">
                  <c:v>18767</c:v>
                </c:pt>
                <c:pt idx="349">
                  <c:v>18768</c:v>
                </c:pt>
                <c:pt idx="350">
                  <c:v>18771</c:v>
                </c:pt>
                <c:pt idx="351">
                  <c:v>18772</c:v>
                </c:pt>
                <c:pt idx="352">
                  <c:v>18773</c:v>
                </c:pt>
                <c:pt idx="353">
                  <c:v>18774</c:v>
                </c:pt>
                <c:pt idx="354">
                  <c:v>18775</c:v>
                </c:pt>
                <c:pt idx="355">
                  <c:v>18779</c:v>
                </c:pt>
                <c:pt idx="356">
                  <c:v>18780</c:v>
                </c:pt>
                <c:pt idx="357">
                  <c:v>18781</c:v>
                </c:pt>
                <c:pt idx="358">
                  <c:v>18782</c:v>
                </c:pt>
                <c:pt idx="359">
                  <c:v>18785</c:v>
                </c:pt>
                <c:pt idx="360">
                  <c:v>18786</c:v>
                </c:pt>
                <c:pt idx="361">
                  <c:v>18787</c:v>
                </c:pt>
                <c:pt idx="362">
                  <c:v>18788</c:v>
                </c:pt>
                <c:pt idx="363">
                  <c:v>18789</c:v>
                </c:pt>
                <c:pt idx="364">
                  <c:v>18792</c:v>
                </c:pt>
                <c:pt idx="365">
                  <c:v>18793</c:v>
                </c:pt>
                <c:pt idx="366">
                  <c:v>18794</c:v>
                </c:pt>
                <c:pt idx="367">
                  <c:v>18795</c:v>
                </c:pt>
                <c:pt idx="368">
                  <c:v>18796</c:v>
                </c:pt>
                <c:pt idx="369">
                  <c:v>18799</c:v>
                </c:pt>
                <c:pt idx="370">
                  <c:v>18800</c:v>
                </c:pt>
                <c:pt idx="371">
                  <c:v>18801</c:v>
                </c:pt>
                <c:pt idx="372">
                  <c:v>18802</c:v>
                </c:pt>
                <c:pt idx="373">
                  <c:v>18803</c:v>
                </c:pt>
                <c:pt idx="374">
                  <c:v>18806</c:v>
                </c:pt>
                <c:pt idx="375">
                  <c:v>18807</c:v>
                </c:pt>
                <c:pt idx="376">
                  <c:v>18808</c:v>
                </c:pt>
                <c:pt idx="377">
                  <c:v>18809</c:v>
                </c:pt>
                <c:pt idx="378">
                  <c:v>18810</c:v>
                </c:pt>
                <c:pt idx="379">
                  <c:v>18814</c:v>
                </c:pt>
                <c:pt idx="380">
                  <c:v>18815</c:v>
                </c:pt>
                <c:pt idx="381">
                  <c:v>18816</c:v>
                </c:pt>
                <c:pt idx="382">
                  <c:v>18817</c:v>
                </c:pt>
                <c:pt idx="383">
                  <c:v>18820</c:v>
                </c:pt>
                <c:pt idx="384">
                  <c:v>18821</c:v>
                </c:pt>
                <c:pt idx="385">
                  <c:v>18822</c:v>
                </c:pt>
                <c:pt idx="386">
                  <c:v>18823</c:v>
                </c:pt>
                <c:pt idx="387">
                  <c:v>18824</c:v>
                </c:pt>
                <c:pt idx="388">
                  <c:v>18827</c:v>
                </c:pt>
                <c:pt idx="389">
                  <c:v>18828</c:v>
                </c:pt>
                <c:pt idx="390">
                  <c:v>18829</c:v>
                </c:pt>
                <c:pt idx="391">
                  <c:v>18830</c:v>
                </c:pt>
                <c:pt idx="392">
                  <c:v>18831</c:v>
                </c:pt>
                <c:pt idx="393">
                  <c:v>18834</c:v>
                </c:pt>
                <c:pt idx="394">
                  <c:v>18835</c:v>
                </c:pt>
                <c:pt idx="395">
                  <c:v>18836</c:v>
                </c:pt>
                <c:pt idx="396">
                  <c:v>18837</c:v>
                </c:pt>
                <c:pt idx="397">
                  <c:v>18838</c:v>
                </c:pt>
                <c:pt idx="398">
                  <c:v>18841</c:v>
                </c:pt>
                <c:pt idx="399">
                  <c:v>18842</c:v>
                </c:pt>
                <c:pt idx="400">
                  <c:v>18843</c:v>
                </c:pt>
                <c:pt idx="401">
                  <c:v>18844</c:v>
                </c:pt>
                <c:pt idx="402">
                  <c:v>18845</c:v>
                </c:pt>
                <c:pt idx="403">
                  <c:v>18848</c:v>
                </c:pt>
                <c:pt idx="404">
                  <c:v>18849</c:v>
                </c:pt>
                <c:pt idx="405">
                  <c:v>18850</c:v>
                </c:pt>
                <c:pt idx="406">
                  <c:v>18851</c:v>
                </c:pt>
                <c:pt idx="407">
                  <c:v>18852</c:v>
                </c:pt>
                <c:pt idx="408">
                  <c:v>18855</c:v>
                </c:pt>
                <c:pt idx="409">
                  <c:v>18856</c:v>
                </c:pt>
                <c:pt idx="410">
                  <c:v>18857</c:v>
                </c:pt>
                <c:pt idx="411">
                  <c:v>18858</c:v>
                </c:pt>
                <c:pt idx="412">
                  <c:v>18859</c:v>
                </c:pt>
                <c:pt idx="413">
                  <c:v>18862</c:v>
                </c:pt>
                <c:pt idx="414">
                  <c:v>18863</c:v>
                </c:pt>
                <c:pt idx="415">
                  <c:v>18864</c:v>
                </c:pt>
                <c:pt idx="416">
                  <c:v>18865</c:v>
                </c:pt>
                <c:pt idx="417">
                  <c:v>18866</c:v>
                </c:pt>
                <c:pt idx="418">
                  <c:v>18869</c:v>
                </c:pt>
                <c:pt idx="419">
                  <c:v>18870</c:v>
                </c:pt>
                <c:pt idx="420">
                  <c:v>18871</c:v>
                </c:pt>
                <c:pt idx="421">
                  <c:v>18872</c:v>
                </c:pt>
                <c:pt idx="422">
                  <c:v>18873</c:v>
                </c:pt>
                <c:pt idx="423">
                  <c:v>18877</c:v>
                </c:pt>
                <c:pt idx="424">
                  <c:v>18878</c:v>
                </c:pt>
                <c:pt idx="425">
                  <c:v>18879</c:v>
                </c:pt>
                <c:pt idx="426">
                  <c:v>18880</c:v>
                </c:pt>
                <c:pt idx="427">
                  <c:v>18883</c:v>
                </c:pt>
                <c:pt idx="428">
                  <c:v>18884</c:v>
                </c:pt>
                <c:pt idx="429">
                  <c:v>18885</c:v>
                </c:pt>
                <c:pt idx="430">
                  <c:v>18886</c:v>
                </c:pt>
                <c:pt idx="431">
                  <c:v>18887</c:v>
                </c:pt>
                <c:pt idx="432">
                  <c:v>18890</c:v>
                </c:pt>
                <c:pt idx="433">
                  <c:v>18891</c:v>
                </c:pt>
                <c:pt idx="434">
                  <c:v>18892</c:v>
                </c:pt>
                <c:pt idx="435">
                  <c:v>18893</c:v>
                </c:pt>
                <c:pt idx="436">
                  <c:v>18894</c:v>
                </c:pt>
                <c:pt idx="437">
                  <c:v>18897</c:v>
                </c:pt>
                <c:pt idx="438">
                  <c:v>18898</c:v>
                </c:pt>
                <c:pt idx="439">
                  <c:v>18899</c:v>
                </c:pt>
                <c:pt idx="440">
                  <c:v>18900</c:v>
                </c:pt>
                <c:pt idx="441">
                  <c:v>18901</c:v>
                </c:pt>
                <c:pt idx="442">
                  <c:v>18904</c:v>
                </c:pt>
                <c:pt idx="443">
                  <c:v>18905</c:v>
                </c:pt>
                <c:pt idx="444">
                  <c:v>18906</c:v>
                </c:pt>
                <c:pt idx="445">
                  <c:v>18907</c:v>
                </c:pt>
                <c:pt idx="446">
                  <c:v>18908</c:v>
                </c:pt>
                <c:pt idx="447">
                  <c:v>18911</c:v>
                </c:pt>
                <c:pt idx="448">
                  <c:v>18912</c:v>
                </c:pt>
                <c:pt idx="449">
                  <c:v>18913</c:v>
                </c:pt>
                <c:pt idx="450">
                  <c:v>18914</c:v>
                </c:pt>
                <c:pt idx="451">
                  <c:v>18915</c:v>
                </c:pt>
                <c:pt idx="452">
                  <c:v>18918</c:v>
                </c:pt>
                <c:pt idx="453">
                  <c:v>18919</c:v>
                </c:pt>
                <c:pt idx="454">
                  <c:v>18920</c:v>
                </c:pt>
                <c:pt idx="455">
                  <c:v>18921</c:v>
                </c:pt>
                <c:pt idx="456">
                  <c:v>18922</c:v>
                </c:pt>
                <c:pt idx="457">
                  <c:v>18925</c:v>
                </c:pt>
                <c:pt idx="458">
                  <c:v>18926</c:v>
                </c:pt>
                <c:pt idx="459">
                  <c:v>18927</c:v>
                </c:pt>
                <c:pt idx="460">
                  <c:v>18928</c:v>
                </c:pt>
                <c:pt idx="461">
                  <c:v>18929</c:v>
                </c:pt>
                <c:pt idx="462">
                  <c:v>18932</c:v>
                </c:pt>
                <c:pt idx="463">
                  <c:v>18933</c:v>
                </c:pt>
                <c:pt idx="464">
                  <c:v>18934</c:v>
                </c:pt>
                <c:pt idx="465">
                  <c:v>18935</c:v>
                </c:pt>
                <c:pt idx="466">
                  <c:v>18936</c:v>
                </c:pt>
                <c:pt idx="467">
                  <c:v>18939</c:v>
                </c:pt>
                <c:pt idx="468">
                  <c:v>18940</c:v>
                </c:pt>
                <c:pt idx="469">
                  <c:v>18941</c:v>
                </c:pt>
                <c:pt idx="470">
                  <c:v>18942</c:v>
                </c:pt>
                <c:pt idx="471">
                  <c:v>18943</c:v>
                </c:pt>
                <c:pt idx="472">
                  <c:v>18946</c:v>
                </c:pt>
                <c:pt idx="473">
                  <c:v>18947</c:v>
                </c:pt>
                <c:pt idx="474">
                  <c:v>18948</c:v>
                </c:pt>
                <c:pt idx="475">
                  <c:v>18949</c:v>
                </c:pt>
                <c:pt idx="476">
                  <c:v>18950</c:v>
                </c:pt>
                <c:pt idx="477">
                  <c:v>18953</c:v>
                </c:pt>
                <c:pt idx="478">
                  <c:v>18954</c:v>
                </c:pt>
                <c:pt idx="479">
                  <c:v>18955</c:v>
                </c:pt>
                <c:pt idx="480">
                  <c:v>18957</c:v>
                </c:pt>
                <c:pt idx="481">
                  <c:v>18960</c:v>
                </c:pt>
                <c:pt idx="482">
                  <c:v>18961</c:v>
                </c:pt>
                <c:pt idx="483">
                  <c:v>18962</c:v>
                </c:pt>
                <c:pt idx="484">
                  <c:v>18963</c:v>
                </c:pt>
                <c:pt idx="485">
                  <c:v>18964</c:v>
                </c:pt>
                <c:pt idx="486">
                  <c:v>18967</c:v>
                </c:pt>
                <c:pt idx="487">
                  <c:v>18968</c:v>
                </c:pt>
                <c:pt idx="488">
                  <c:v>18969</c:v>
                </c:pt>
                <c:pt idx="489">
                  <c:v>18970</c:v>
                </c:pt>
                <c:pt idx="490">
                  <c:v>18971</c:v>
                </c:pt>
                <c:pt idx="491">
                  <c:v>18974</c:v>
                </c:pt>
                <c:pt idx="492">
                  <c:v>18975</c:v>
                </c:pt>
                <c:pt idx="493">
                  <c:v>18976</c:v>
                </c:pt>
                <c:pt idx="494">
                  <c:v>18977</c:v>
                </c:pt>
                <c:pt idx="495">
                  <c:v>18978</c:v>
                </c:pt>
                <c:pt idx="496">
                  <c:v>18981</c:v>
                </c:pt>
                <c:pt idx="497">
                  <c:v>18982</c:v>
                </c:pt>
                <c:pt idx="498">
                  <c:v>18983</c:v>
                </c:pt>
                <c:pt idx="499">
                  <c:v>18984</c:v>
                </c:pt>
                <c:pt idx="500">
                  <c:v>18988</c:v>
                </c:pt>
                <c:pt idx="501">
                  <c:v>18989</c:v>
                </c:pt>
                <c:pt idx="502">
                  <c:v>18990</c:v>
                </c:pt>
                <c:pt idx="503">
                  <c:v>18991</c:v>
                </c:pt>
                <c:pt idx="504">
                  <c:v>18992</c:v>
                </c:pt>
                <c:pt idx="505">
                  <c:v>18995</c:v>
                </c:pt>
                <c:pt idx="506">
                  <c:v>18996</c:v>
                </c:pt>
                <c:pt idx="507">
                  <c:v>18997</c:v>
                </c:pt>
                <c:pt idx="508">
                  <c:v>18998</c:v>
                </c:pt>
                <c:pt idx="509">
                  <c:v>18999</c:v>
                </c:pt>
                <c:pt idx="510">
                  <c:v>19002</c:v>
                </c:pt>
                <c:pt idx="511">
                  <c:v>19003</c:v>
                </c:pt>
                <c:pt idx="512">
                  <c:v>19004</c:v>
                </c:pt>
                <c:pt idx="513">
                  <c:v>19005</c:v>
                </c:pt>
                <c:pt idx="514">
                  <c:v>19006</c:v>
                </c:pt>
                <c:pt idx="515">
                  <c:v>19010</c:v>
                </c:pt>
                <c:pt idx="516">
                  <c:v>19011</c:v>
                </c:pt>
                <c:pt idx="517">
                  <c:v>19012</c:v>
                </c:pt>
                <c:pt idx="518">
                  <c:v>19013</c:v>
                </c:pt>
                <c:pt idx="519">
                  <c:v>19016</c:v>
                </c:pt>
                <c:pt idx="520">
                  <c:v>19017</c:v>
                </c:pt>
                <c:pt idx="521">
                  <c:v>19018</c:v>
                </c:pt>
                <c:pt idx="522">
                  <c:v>19019</c:v>
                </c:pt>
                <c:pt idx="523">
                  <c:v>19020</c:v>
                </c:pt>
                <c:pt idx="524">
                  <c:v>19023</c:v>
                </c:pt>
                <c:pt idx="525">
                  <c:v>19024</c:v>
                </c:pt>
                <c:pt idx="526">
                  <c:v>19025</c:v>
                </c:pt>
                <c:pt idx="527">
                  <c:v>19026</c:v>
                </c:pt>
                <c:pt idx="528">
                  <c:v>19027</c:v>
                </c:pt>
                <c:pt idx="529">
                  <c:v>19030</c:v>
                </c:pt>
                <c:pt idx="530">
                  <c:v>19031</c:v>
                </c:pt>
                <c:pt idx="531">
                  <c:v>19032</c:v>
                </c:pt>
                <c:pt idx="532">
                  <c:v>19033</c:v>
                </c:pt>
                <c:pt idx="533">
                  <c:v>19034</c:v>
                </c:pt>
                <c:pt idx="534">
                  <c:v>19037</c:v>
                </c:pt>
                <c:pt idx="535">
                  <c:v>19038</c:v>
                </c:pt>
                <c:pt idx="536">
                  <c:v>19039</c:v>
                </c:pt>
                <c:pt idx="537">
                  <c:v>19040</c:v>
                </c:pt>
                <c:pt idx="538">
                  <c:v>19041</c:v>
                </c:pt>
                <c:pt idx="539">
                  <c:v>19045</c:v>
                </c:pt>
                <c:pt idx="540">
                  <c:v>19046</c:v>
                </c:pt>
                <c:pt idx="541">
                  <c:v>19047</c:v>
                </c:pt>
                <c:pt idx="542">
                  <c:v>19048</c:v>
                </c:pt>
                <c:pt idx="543">
                  <c:v>19051</c:v>
                </c:pt>
                <c:pt idx="544">
                  <c:v>19052</c:v>
                </c:pt>
                <c:pt idx="545">
                  <c:v>19053</c:v>
                </c:pt>
                <c:pt idx="546">
                  <c:v>19054</c:v>
                </c:pt>
                <c:pt idx="547">
                  <c:v>19055</c:v>
                </c:pt>
                <c:pt idx="548">
                  <c:v>19058</c:v>
                </c:pt>
                <c:pt idx="549">
                  <c:v>19059</c:v>
                </c:pt>
                <c:pt idx="550">
                  <c:v>19060</c:v>
                </c:pt>
                <c:pt idx="551">
                  <c:v>19061</c:v>
                </c:pt>
                <c:pt idx="552">
                  <c:v>19062</c:v>
                </c:pt>
                <c:pt idx="553">
                  <c:v>19065</c:v>
                </c:pt>
                <c:pt idx="554">
                  <c:v>19066</c:v>
                </c:pt>
                <c:pt idx="555">
                  <c:v>19067</c:v>
                </c:pt>
                <c:pt idx="556">
                  <c:v>19068</c:v>
                </c:pt>
                <c:pt idx="557">
                  <c:v>19069</c:v>
                </c:pt>
                <c:pt idx="558">
                  <c:v>19072</c:v>
                </c:pt>
                <c:pt idx="559">
                  <c:v>19073</c:v>
                </c:pt>
                <c:pt idx="560">
                  <c:v>19074</c:v>
                </c:pt>
                <c:pt idx="561">
                  <c:v>19075</c:v>
                </c:pt>
                <c:pt idx="562">
                  <c:v>19076</c:v>
                </c:pt>
                <c:pt idx="563">
                  <c:v>19079</c:v>
                </c:pt>
                <c:pt idx="564">
                  <c:v>19080</c:v>
                </c:pt>
                <c:pt idx="565">
                  <c:v>19081</c:v>
                </c:pt>
                <c:pt idx="566">
                  <c:v>19082</c:v>
                </c:pt>
                <c:pt idx="567">
                  <c:v>19083</c:v>
                </c:pt>
                <c:pt idx="568">
                  <c:v>19086</c:v>
                </c:pt>
                <c:pt idx="569">
                  <c:v>19087</c:v>
                </c:pt>
                <c:pt idx="570">
                  <c:v>19088</c:v>
                </c:pt>
                <c:pt idx="571">
                  <c:v>19089</c:v>
                </c:pt>
                <c:pt idx="572">
                  <c:v>19090</c:v>
                </c:pt>
                <c:pt idx="573">
                  <c:v>19093</c:v>
                </c:pt>
                <c:pt idx="574">
                  <c:v>19094</c:v>
                </c:pt>
                <c:pt idx="575">
                  <c:v>19095</c:v>
                </c:pt>
                <c:pt idx="576">
                  <c:v>19096</c:v>
                </c:pt>
                <c:pt idx="577">
                  <c:v>19100</c:v>
                </c:pt>
                <c:pt idx="578">
                  <c:v>19101</c:v>
                </c:pt>
                <c:pt idx="579">
                  <c:v>19102</c:v>
                </c:pt>
                <c:pt idx="580">
                  <c:v>19103</c:v>
                </c:pt>
                <c:pt idx="581">
                  <c:v>19104</c:v>
                </c:pt>
                <c:pt idx="582">
                  <c:v>19107</c:v>
                </c:pt>
                <c:pt idx="583">
                  <c:v>19108</c:v>
                </c:pt>
                <c:pt idx="584">
                  <c:v>19109</c:v>
                </c:pt>
                <c:pt idx="585">
                  <c:v>19110</c:v>
                </c:pt>
                <c:pt idx="586">
                  <c:v>19111</c:v>
                </c:pt>
                <c:pt idx="587">
                  <c:v>19114</c:v>
                </c:pt>
                <c:pt idx="588">
                  <c:v>19115</c:v>
                </c:pt>
                <c:pt idx="589">
                  <c:v>19116</c:v>
                </c:pt>
                <c:pt idx="590">
                  <c:v>19117</c:v>
                </c:pt>
                <c:pt idx="591">
                  <c:v>19118</c:v>
                </c:pt>
                <c:pt idx="592">
                  <c:v>19121</c:v>
                </c:pt>
                <c:pt idx="593">
                  <c:v>19122</c:v>
                </c:pt>
                <c:pt idx="594">
                  <c:v>19123</c:v>
                </c:pt>
                <c:pt idx="595">
                  <c:v>19124</c:v>
                </c:pt>
                <c:pt idx="596">
                  <c:v>19125</c:v>
                </c:pt>
                <c:pt idx="597">
                  <c:v>19128</c:v>
                </c:pt>
                <c:pt idx="598">
                  <c:v>19129</c:v>
                </c:pt>
                <c:pt idx="599">
                  <c:v>19130</c:v>
                </c:pt>
                <c:pt idx="600">
                  <c:v>19131</c:v>
                </c:pt>
                <c:pt idx="601">
                  <c:v>19132</c:v>
                </c:pt>
                <c:pt idx="602">
                  <c:v>19135</c:v>
                </c:pt>
                <c:pt idx="603">
                  <c:v>19136</c:v>
                </c:pt>
                <c:pt idx="604">
                  <c:v>19137</c:v>
                </c:pt>
                <c:pt idx="605">
                  <c:v>19138</c:v>
                </c:pt>
                <c:pt idx="606">
                  <c:v>19139</c:v>
                </c:pt>
                <c:pt idx="607">
                  <c:v>19143</c:v>
                </c:pt>
                <c:pt idx="608">
                  <c:v>19144</c:v>
                </c:pt>
                <c:pt idx="609">
                  <c:v>19145</c:v>
                </c:pt>
                <c:pt idx="610">
                  <c:v>19146</c:v>
                </c:pt>
                <c:pt idx="611">
                  <c:v>19149</c:v>
                </c:pt>
                <c:pt idx="612">
                  <c:v>19150</c:v>
                </c:pt>
                <c:pt idx="613">
                  <c:v>19151</c:v>
                </c:pt>
                <c:pt idx="614">
                  <c:v>19152</c:v>
                </c:pt>
                <c:pt idx="615">
                  <c:v>19153</c:v>
                </c:pt>
                <c:pt idx="616">
                  <c:v>19156</c:v>
                </c:pt>
                <c:pt idx="617">
                  <c:v>19157</c:v>
                </c:pt>
                <c:pt idx="618">
                  <c:v>19158</c:v>
                </c:pt>
                <c:pt idx="619">
                  <c:v>19159</c:v>
                </c:pt>
                <c:pt idx="620">
                  <c:v>19160</c:v>
                </c:pt>
                <c:pt idx="621">
                  <c:v>19164</c:v>
                </c:pt>
                <c:pt idx="622">
                  <c:v>19165</c:v>
                </c:pt>
                <c:pt idx="623">
                  <c:v>19166</c:v>
                </c:pt>
                <c:pt idx="624">
                  <c:v>19167</c:v>
                </c:pt>
                <c:pt idx="625">
                  <c:v>19170</c:v>
                </c:pt>
                <c:pt idx="626">
                  <c:v>19171</c:v>
                </c:pt>
                <c:pt idx="627">
                  <c:v>19172</c:v>
                </c:pt>
                <c:pt idx="628">
                  <c:v>19173</c:v>
                </c:pt>
                <c:pt idx="629">
                  <c:v>19174</c:v>
                </c:pt>
                <c:pt idx="630">
                  <c:v>19178</c:v>
                </c:pt>
                <c:pt idx="631">
                  <c:v>19179</c:v>
                </c:pt>
                <c:pt idx="632">
                  <c:v>19180</c:v>
                </c:pt>
                <c:pt idx="633">
                  <c:v>19181</c:v>
                </c:pt>
                <c:pt idx="634">
                  <c:v>19184</c:v>
                </c:pt>
                <c:pt idx="635">
                  <c:v>19185</c:v>
                </c:pt>
                <c:pt idx="636">
                  <c:v>19186</c:v>
                </c:pt>
                <c:pt idx="637">
                  <c:v>19187</c:v>
                </c:pt>
                <c:pt idx="638">
                  <c:v>19188</c:v>
                </c:pt>
                <c:pt idx="639">
                  <c:v>19191</c:v>
                </c:pt>
                <c:pt idx="640">
                  <c:v>19192</c:v>
                </c:pt>
                <c:pt idx="641">
                  <c:v>19193</c:v>
                </c:pt>
                <c:pt idx="642">
                  <c:v>19194</c:v>
                </c:pt>
                <c:pt idx="643">
                  <c:v>19195</c:v>
                </c:pt>
                <c:pt idx="644">
                  <c:v>19198</c:v>
                </c:pt>
                <c:pt idx="645">
                  <c:v>19199</c:v>
                </c:pt>
                <c:pt idx="646">
                  <c:v>19200</c:v>
                </c:pt>
                <c:pt idx="647">
                  <c:v>19201</c:v>
                </c:pt>
                <c:pt idx="648">
                  <c:v>19202</c:v>
                </c:pt>
                <c:pt idx="649">
                  <c:v>19205</c:v>
                </c:pt>
                <c:pt idx="650">
                  <c:v>19206</c:v>
                </c:pt>
                <c:pt idx="651">
                  <c:v>19207</c:v>
                </c:pt>
                <c:pt idx="652">
                  <c:v>19208</c:v>
                </c:pt>
                <c:pt idx="653">
                  <c:v>19209</c:v>
                </c:pt>
                <c:pt idx="654">
                  <c:v>19212</c:v>
                </c:pt>
                <c:pt idx="655">
                  <c:v>19213</c:v>
                </c:pt>
                <c:pt idx="656">
                  <c:v>19214</c:v>
                </c:pt>
                <c:pt idx="657">
                  <c:v>19215</c:v>
                </c:pt>
                <c:pt idx="658">
                  <c:v>19216</c:v>
                </c:pt>
                <c:pt idx="659">
                  <c:v>19219</c:v>
                </c:pt>
                <c:pt idx="660">
                  <c:v>19220</c:v>
                </c:pt>
                <c:pt idx="661">
                  <c:v>19221</c:v>
                </c:pt>
                <c:pt idx="662">
                  <c:v>19222</c:v>
                </c:pt>
                <c:pt idx="663">
                  <c:v>19223</c:v>
                </c:pt>
                <c:pt idx="664">
                  <c:v>19226</c:v>
                </c:pt>
                <c:pt idx="665">
                  <c:v>19227</c:v>
                </c:pt>
                <c:pt idx="666">
                  <c:v>19228</c:v>
                </c:pt>
                <c:pt idx="667">
                  <c:v>19229</c:v>
                </c:pt>
                <c:pt idx="668">
                  <c:v>19230</c:v>
                </c:pt>
              </c:numCache>
            </c:numRef>
          </c:xVal>
          <c:yVal>
            <c:numRef>
              <c:f>Sheet1!$A$2:$YS$2</c:f>
              <c:numCache>
                <c:formatCode>General</c:formatCode>
                <c:ptCount val="669"/>
                <c:pt idx="0">
                  <c:v>4.6237000000000004</c:v>
                </c:pt>
                <c:pt idx="1">
                  <c:v>4.5369999999999999</c:v>
                </c:pt>
                <c:pt idx="2">
                  <c:v>4.4130000000000003</c:v>
                </c:pt>
                <c:pt idx="3">
                  <c:v>4.4192</c:v>
                </c:pt>
                <c:pt idx="4">
                  <c:v>4.1031000000000004</c:v>
                </c:pt>
                <c:pt idx="5">
                  <c:v>4.0038999999999998</c:v>
                </c:pt>
                <c:pt idx="6">
                  <c:v>4.0101000000000004</c:v>
                </c:pt>
                <c:pt idx="7">
                  <c:v>4.0659000000000001</c:v>
                </c:pt>
                <c:pt idx="8">
                  <c:v>4.2457000000000003</c:v>
                </c:pt>
                <c:pt idx="9">
                  <c:v>4.4067999999999996</c:v>
                </c:pt>
                <c:pt idx="10">
                  <c:v>4.5431999999999997</c:v>
                </c:pt>
                <c:pt idx="11">
                  <c:v>4.5122</c:v>
                </c:pt>
                <c:pt idx="12">
                  <c:v>4.4501999999999997</c:v>
                </c:pt>
                <c:pt idx="13">
                  <c:v>4.32</c:v>
                </c:pt>
                <c:pt idx="14">
                  <c:v>4.2146999999999997</c:v>
                </c:pt>
                <c:pt idx="15">
                  <c:v>4.1775000000000002</c:v>
                </c:pt>
                <c:pt idx="16">
                  <c:v>3.9419</c:v>
                </c:pt>
                <c:pt idx="17">
                  <c:v>4.2084999999999999</c:v>
                </c:pt>
                <c:pt idx="18">
                  <c:v>4.1961000000000004</c:v>
                </c:pt>
                <c:pt idx="19">
                  <c:v>4.2394999999999996</c:v>
                </c:pt>
                <c:pt idx="20">
                  <c:v>4.0411000000000001</c:v>
                </c:pt>
                <c:pt idx="21">
                  <c:v>3.9977</c:v>
                </c:pt>
                <c:pt idx="22">
                  <c:v>4.1216999999999997</c:v>
                </c:pt>
                <c:pt idx="23">
                  <c:v>4.3385999999999996</c:v>
                </c:pt>
                <c:pt idx="24">
                  <c:v>4.1837</c:v>
                </c:pt>
                <c:pt idx="25">
                  <c:v>4.0597000000000003</c:v>
                </c:pt>
                <c:pt idx="26">
                  <c:v>4.2084999999999999</c:v>
                </c:pt>
                <c:pt idx="27">
                  <c:v>4.3014000000000001</c:v>
                </c:pt>
                <c:pt idx="28">
                  <c:v>4.2518000000000002</c:v>
                </c:pt>
                <c:pt idx="29">
                  <c:v>4.3385999999999996</c:v>
                </c:pt>
                <c:pt idx="30">
                  <c:v>4.4005999999999998</c:v>
                </c:pt>
                <c:pt idx="31">
                  <c:v>4.3634000000000004</c:v>
                </c:pt>
                <c:pt idx="32">
                  <c:v>4.5308000000000002</c:v>
                </c:pt>
                <c:pt idx="33">
                  <c:v>4.8097000000000003</c:v>
                </c:pt>
                <c:pt idx="34">
                  <c:v>4.6237000000000004</c:v>
                </c:pt>
                <c:pt idx="35">
                  <c:v>4.3696000000000002</c:v>
                </c:pt>
                <c:pt idx="36">
                  <c:v>4.0597000000000003</c:v>
                </c:pt>
                <c:pt idx="37">
                  <c:v>3.6753999999999998</c:v>
                </c:pt>
                <c:pt idx="38">
                  <c:v>3.7746</c:v>
                </c:pt>
                <c:pt idx="39">
                  <c:v>3.88</c:v>
                </c:pt>
                <c:pt idx="40">
                  <c:v>3.7869999999999999</c:v>
                </c:pt>
                <c:pt idx="41">
                  <c:v>3.6011000000000002</c:v>
                </c:pt>
                <c:pt idx="42">
                  <c:v>3.6073</c:v>
                </c:pt>
                <c:pt idx="43">
                  <c:v>3.0493999999999999</c:v>
                </c:pt>
                <c:pt idx="44">
                  <c:v>2.8077000000000001</c:v>
                </c:pt>
                <c:pt idx="45">
                  <c:v>2.3862000000000001</c:v>
                </c:pt>
                <c:pt idx="46">
                  <c:v>2.6032000000000002</c:v>
                </c:pt>
                <c:pt idx="47">
                  <c:v>2.2561</c:v>
                </c:pt>
                <c:pt idx="48">
                  <c:v>1.8036000000000001</c:v>
                </c:pt>
                <c:pt idx="49">
                  <c:v>1.9958</c:v>
                </c:pt>
                <c:pt idx="50">
                  <c:v>1.6114999999999999</c:v>
                </c:pt>
                <c:pt idx="51">
                  <c:v>1.5370999999999999</c:v>
                </c:pt>
                <c:pt idx="52">
                  <c:v>1.5308999999999999</c:v>
                </c:pt>
                <c:pt idx="53">
                  <c:v>2.0886999999999998</c:v>
                </c:pt>
                <c:pt idx="54">
                  <c:v>1.9772000000000001</c:v>
                </c:pt>
                <c:pt idx="55">
                  <c:v>1.9523999999999999</c:v>
                </c:pt>
                <c:pt idx="56">
                  <c:v>2.2065000000000001</c:v>
                </c:pt>
                <c:pt idx="57">
                  <c:v>2.1444999999999999</c:v>
                </c:pt>
                <c:pt idx="58">
                  <c:v>2.2932999999999999</c:v>
                </c:pt>
                <c:pt idx="59">
                  <c:v>2.2313000000000001</c:v>
                </c:pt>
                <c:pt idx="60">
                  <c:v>1.8842000000000001</c:v>
                </c:pt>
                <c:pt idx="61">
                  <c:v>1.9585999999999999</c:v>
                </c:pt>
                <c:pt idx="62">
                  <c:v>1.6238999999999999</c:v>
                </c:pt>
                <c:pt idx="63">
                  <c:v>1.3884000000000001</c:v>
                </c:pt>
                <c:pt idx="64">
                  <c:v>1.407</c:v>
                </c:pt>
                <c:pt idx="65">
                  <c:v>1.7849999999999999</c:v>
                </c:pt>
                <c:pt idx="66">
                  <c:v>1.9461999999999999</c:v>
                </c:pt>
                <c:pt idx="67">
                  <c:v>2.0453000000000001</c:v>
                </c:pt>
                <c:pt idx="68">
                  <c:v>1.6114999999999999</c:v>
                </c:pt>
                <c:pt idx="69">
                  <c:v>1.2891999999999999</c:v>
                </c:pt>
                <c:pt idx="70">
                  <c:v>1.3512</c:v>
                </c:pt>
                <c:pt idx="71">
                  <c:v>1.4937</c:v>
                </c:pt>
                <c:pt idx="72">
                  <c:v>1.5123</c:v>
                </c:pt>
                <c:pt idx="73">
                  <c:v>1.9834000000000001</c:v>
                </c:pt>
                <c:pt idx="74">
                  <c:v>1.9710000000000001</c:v>
                </c:pt>
                <c:pt idx="75">
                  <c:v>2.0144000000000002</c:v>
                </c:pt>
                <c:pt idx="76">
                  <c:v>1.9710000000000001</c:v>
                </c:pt>
                <c:pt idx="77">
                  <c:v>1.9276</c:v>
                </c:pt>
                <c:pt idx="78">
                  <c:v>1.8904000000000001</c:v>
                </c:pt>
                <c:pt idx="79">
                  <c:v>2.0825</c:v>
                </c:pt>
                <c:pt idx="80">
                  <c:v>2.5659999999999998</c:v>
                </c:pt>
                <c:pt idx="81">
                  <c:v>3.2168000000000001</c:v>
                </c:pt>
                <c:pt idx="82">
                  <c:v>3.0493999999999999</c:v>
                </c:pt>
                <c:pt idx="83">
                  <c:v>2.8325</c:v>
                </c:pt>
                <c:pt idx="84">
                  <c:v>2.6652</c:v>
                </c:pt>
                <c:pt idx="85">
                  <c:v>2.411</c:v>
                </c:pt>
                <c:pt idx="86">
                  <c:v>2.4296000000000002</c:v>
                </c:pt>
                <c:pt idx="87">
                  <c:v>2.4729999999999999</c:v>
                </c:pt>
                <c:pt idx="88">
                  <c:v>2.5411999999999999</c:v>
                </c:pt>
                <c:pt idx="89">
                  <c:v>3.2974000000000001</c:v>
                </c:pt>
                <c:pt idx="90">
                  <c:v>3.1734</c:v>
                </c:pt>
                <c:pt idx="91">
                  <c:v>2.8511000000000002</c:v>
                </c:pt>
                <c:pt idx="92">
                  <c:v>2.8201000000000001</c:v>
                </c:pt>
                <c:pt idx="93">
                  <c:v>2.8014999999999999</c:v>
                </c:pt>
                <c:pt idx="94">
                  <c:v>2.9255</c:v>
                </c:pt>
                <c:pt idx="95">
                  <c:v>2.8262999999999998</c:v>
                </c:pt>
                <c:pt idx="96">
                  <c:v>2.8883000000000001</c:v>
                </c:pt>
                <c:pt idx="97">
                  <c:v>2.8696999999999999</c:v>
                </c:pt>
                <c:pt idx="98">
                  <c:v>2.8386999999999998</c:v>
                </c:pt>
                <c:pt idx="99">
                  <c:v>3.1671999999999998</c:v>
                </c:pt>
                <c:pt idx="100">
                  <c:v>3.4708999999999999</c:v>
                </c:pt>
                <c:pt idx="101">
                  <c:v>3.1423999999999999</c:v>
                </c:pt>
                <c:pt idx="102">
                  <c:v>3.1796000000000002</c:v>
                </c:pt>
                <c:pt idx="103">
                  <c:v>3.2911999999999999</c:v>
                </c:pt>
                <c:pt idx="104">
                  <c:v>3.4647000000000001</c:v>
                </c:pt>
                <c:pt idx="105">
                  <c:v>3.3778999999999999</c:v>
                </c:pt>
                <c:pt idx="106">
                  <c:v>3.3344999999999998</c:v>
                </c:pt>
                <c:pt idx="107">
                  <c:v>3.6629999999999998</c:v>
                </c:pt>
                <c:pt idx="108">
                  <c:v>3.9977</c:v>
                </c:pt>
                <c:pt idx="109">
                  <c:v>3.7126000000000001</c:v>
                </c:pt>
                <c:pt idx="110">
                  <c:v>3.8986000000000001</c:v>
                </c:pt>
                <c:pt idx="111">
                  <c:v>3.2044000000000001</c:v>
                </c:pt>
                <c:pt idx="112">
                  <c:v>3.6505999999999998</c:v>
                </c:pt>
                <c:pt idx="113">
                  <c:v>3.5949</c:v>
                </c:pt>
                <c:pt idx="114">
                  <c:v>3.4460999999999999</c:v>
                </c:pt>
                <c:pt idx="115">
                  <c:v>3.3593000000000002</c:v>
                </c:pt>
                <c:pt idx="116">
                  <c:v>3.4895</c:v>
                </c:pt>
                <c:pt idx="117">
                  <c:v>3.4213</c:v>
                </c:pt>
                <c:pt idx="118">
                  <c:v>3.3035000000000001</c:v>
                </c:pt>
                <c:pt idx="119">
                  <c:v>3.161</c:v>
                </c:pt>
                <c:pt idx="120">
                  <c:v>2.9689000000000001</c:v>
                </c:pt>
                <c:pt idx="121">
                  <c:v>2.6465999999999998</c:v>
                </c:pt>
                <c:pt idx="122">
                  <c:v>2.5908000000000002</c:v>
                </c:pt>
                <c:pt idx="123">
                  <c:v>2.7395</c:v>
                </c:pt>
                <c:pt idx="124">
                  <c:v>2.6589999999999998</c:v>
                </c:pt>
                <c:pt idx="125">
                  <c:v>2.8325</c:v>
                </c:pt>
                <c:pt idx="126">
                  <c:v>2.8077000000000001</c:v>
                </c:pt>
                <c:pt idx="127">
                  <c:v>2.6528</c:v>
                </c:pt>
                <c:pt idx="128">
                  <c:v>2.5598000000000001</c:v>
                </c:pt>
                <c:pt idx="129">
                  <c:v>2.7456999999999998</c:v>
                </c:pt>
                <c:pt idx="130">
                  <c:v>2.8325</c:v>
                </c:pt>
                <c:pt idx="131">
                  <c:v>2.8511000000000002</c:v>
                </c:pt>
                <c:pt idx="132">
                  <c:v>2.6404000000000001</c:v>
                </c:pt>
                <c:pt idx="133">
                  <c:v>2.6156000000000001</c:v>
                </c:pt>
                <c:pt idx="134">
                  <c:v>2.7890999999999999</c:v>
                </c:pt>
                <c:pt idx="135">
                  <c:v>2.7147000000000001</c:v>
                </c:pt>
                <c:pt idx="136">
                  <c:v>2.6465999999999998</c:v>
                </c:pt>
                <c:pt idx="137">
                  <c:v>2.5722</c:v>
                </c:pt>
                <c:pt idx="138">
                  <c:v>2.5722</c:v>
                </c:pt>
                <c:pt idx="139">
                  <c:v>2.4977999999999998</c:v>
                </c:pt>
                <c:pt idx="140">
                  <c:v>2.5164</c:v>
                </c:pt>
                <c:pt idx="141">
                  <c:v>2.4792000000000001</c:v>
                </c:pt>
                <c:pt idx="142">
                  <c:v>2.3986000000000001</c:v>
                </c:pt>
                <c:pt idx="143">
                  <c:v>2.5722</c:v>
                </c:pt>
                <c:pt idx="144">
                  <c:v>2.5783999999999998</c:v>
                </c:pt>
                <c:pt idx="145">
                  <c:v>2.5535999999999999</c:v>
                </c:pt>
                <c:pt idx="146">
                  <c:v>2.504</c:v>
                </c:pt>
                <c:pt idx="147">
                  <c:v>2.5474000000000001</c:v>
                </c:pt>
                <c:pt idx="148">
                  <c:v>2.5411999999999999</c:v>
                </c:pt>
                <c:pt idx="149">
                  <c:v>2.5722</c:v>
                </c:pt>
                <c:pt idx="150">
                  <c:v>2.5659999999999998</c:v>
                </c:pt>
                <c:pt idx="151">
                  <c:v>2.9441000000000002</c:v>
                </c:pt>
                <c:pt idx="152">
                  <c:v>2.7705000000000002</c:v>
                </c:pt>
                <c:pt idx="153">
                  <c:v>2.8262999999999998</c:v>
                </c:pt>
                <c:pt idx="154">
                  <c:v>2.8759000000000001</c:v>
                </c:pt>
                <c:pt idx="155">
                  <c:v>3.2911999999999999</c:v>
                </c:pt>
                <c:pt idx="156">
                  <c:v>3.4337</c:v>
                </c:pt>
                <c:pt idx="157">
                  <c:v>3.4708999999999999</c:v>
                </c:pt>
                <c:pt idx="158">
                  <c:v>3.3159000000000001</c:v>
                </c:pt>
                <c:pt idx="159">
                  <c:v>3.3407</c:v>
                </c:pt>
                <c:pt idx="160">
                  <c:v>3.5266999999999999</c:v>
                </c:pt>
                <c:pt idx="161">
                  <c:v>3.2168000000000001</c:v>
                </c:pt>
                <c:pt idx="162">
                  <c:v>3.3531</c:v>
                </c:pt>
                <c:pt idx="163">
                  <c:v>3.4337</c:v>
                </c:pt>
                <c:pt idx="164">
                  <c:v>3.4708999999999999</c:v>
                </c:pt>
                <c:pt idx="165">
                  <c:v>4.0411000000000001</c:v>
                </c:pt>
                <c:pt idx="166">
                  <c:v>3.9047999999999998</c:v>
                </c:pt>
                <c:pt idx="167">
                  <c:v>3.6444000000000001</c:v>
                </c:pt>
                <c:pt idx="168">
                  <c:v>3.7622</c:v>
                </c:pt>
                <c:pt idx="169">
                  <c:v>4.3634000000000004</c:v>
                </c:pt>
                <c:pt idx="170">
                  <c:v>4.0907</c:v>
                </c:pt>
                <c:pt idx="171">
                  <c:v>4.351</c:v>
                </c:pt>
                <c:pt idx="172">
                  <c:v>3.9790999999999999</c:v>
                </c:pt>
                <c:pt idx="173">
                  <c:v>3.88</c:v>
                </c:pt>
                <c:pt idx="174">
                  <c:v>3.6816</c:v>
                </c:pt>
                <c:pt idx="175">
                  <c:v>3.5886999999999998</c:v>
                </c:pt>
                <c:pt idx="176">
                  <c:v>3.4337</c:v>
                </c:pt>
                <c:pt idx="177">
                  <c:v>3.4213</c:v>
                </c:pt>
                <c:pt idx="178">
                  <c:v>3.5701000000000001</c:v>
                </c:pt>
                <c:pt idx="179">
                  <c:v>3.5453000000000001</c:v>
                </c:pt>
                <c:pt idx="180">
                  <c:v>3.5143</c:v>
                </c:pt>
                <c:pt idx="181">
                  <c:v>3.2974000000000001</c:v>
                </c:pt>
                <c:pt idx="182">
                  <c:v>3.2292000000000001</c:v>
                </c:pt>
                <c:pt idx="183">
                  <c:v>2.9626999999999999</c:v>
                </c:pt>
                <c:pt idx="184">
                  <c:v>2.8573</c:v>
                </c:pt>
                <c:pt idx="185">
                  <c:v>3.0246</c:v>
                </c:pt>
                <c:pt idx="186">
                  <c:v>3.0432000000000001</c:v>
                </c:pt>
                <c:pt idx="187">
                  <c:v>3.0122</c:v>
                </c:pt>
                <c:pt idx="188">
                  <c:v>2.9192999999999998</c:v>
                </c:pt>
                <c:pt idx="189">
                  <c:v>2.8820999999999999</c:v>
                </c:pt>
                <c:pt idx="190">
                  <c:v>2.8820999999999999</c:v>
                </c:pt>
                <c:pt idx="191">
                  <c:v>2.5598000000000001</c:v>
                </c:pt>
                <c:pt idx="192">
                  <c:v>2.5164</c:v>
                </c:pt>
                <c:pt idx="193">
                  <c:v>2.504</c:v>
                </c:pt>
                <c:pt idx="194">
                  <c:v>2.5659999999999998</c:v>
                </c:pt>
                <c:pt idx="195">
                  <c:v>2.5102000000000002</c:v>
                </c:pt>
                <c:pt idx="196">
                  <c:v>2.5287999999999999</c:v>
                </c:pt>
                <c:pt idx="197">
                  <c:v>2.1941000000000002</c:v>
                </c:pt>
                <c:pt idx="198">
                  <c:v>1.8346</c:v>
                </c:pt>
                <c:pt idx="199">
                  <c:v>1.7231000000000001</c:v>
                </c:pt>
                <c:pt idx="200">
                  <c:v>1.8842000000000001</c:v>
                </c:pt>
                <c:pt idx="201">
                  <c:v>2.1941000000000002</c:v>
                </c:pt>
                <c:pt idx="202">
                  <c:v>1.9152</c:v>
                </c:pt>
                <c:pt idx="203">
                  <c:v>1.8593999999999999</c:v>
                </c:pt>
                <c:pt idx="204">
                  <c:v>1.9338</c:v>
                </c:pt>
                <c:pt idx="205">
                  <c:v>1.8408</c:v>
                </c:pt>
                <c:pt idx="206">
                  <c:v>1.7044999999999999</c:v>
                </c:pt>
                <c:pt idx="207">
                  <c:v>1.7293000000000001</c:v>
                </c:pt>
                <c:pt idx="208">
                  <c:v>1.6176999999999999</c:v>
                </c:pt>
                <c:pt idx="209">
                  <c:v>1.5619000000000001</c:v>
                </c:pt>
                <c:pt idx="210">
                  <c:v>1.4626999999999999</c:v>
                </c:pt>
                <c:pt idx="211">
                  <c:v>1.3326</c:v>
                </c:pt>
                <c:pt idx="212">
                  <c:v>1.4502999999999999</c:v>
                </c:pt>
                <c:pt idx="213">
                  <c:v>1.4317</c:v>
                </c:pt>
                <c:pt idx="214">
                  <c:v>1.5246999999999999</c:v>
                </c:pt>
                <c:pt idx="215">
                  <c:v>1.5432999999999999</c:v>
                </c:pt>
                <c:pt idx="216">
                  <c:v>2.3367</c:v>
                </c:pt>
                <c:pt idx="217">
                  <c:v>2.1755</c:v>
                </c:pt>
                <c:pt idx="218">
                  <c:v>1.94</c:v>
                </c:pt>
                <c:pt idx="219">
                  <c:v>1.8222</c:v>
                </c:pt>
                <c:pt idx="220">
                  <c:v>1.8408</c:v>
                </c:pt>
                <c:pt idx="221">
                  <c:v>1.9276</c:v>
                </c:pt>
                <c:pt idx="222">
                  <c:v>1.847</c:v>
                </c:pt>
                <c:pt idx="223">
                  <c:v>2.0206</c:v>
                </c:pt>
                <c:pt idx="224">
                  <c:v>1.9772000000000001</c:v>
                </c:pt>
                <c:pt idx="225">
                  <c:v>2.0762999999999998</c:v>
                </c:pt>
                <c:pt idx="226">
                  <c:v>2.3614000000000002</c:v>
                </c:pt>
                <c:pt idx="227">
                  <c:v>2.8386999999999998</c:v>
                </c:pt>
                <c:pt idx="228">
                  <c:v>2.7829000000000002</c:v>
                </c:pt>
                <c:pt idx="229">
                  <c:v>2.7581000000000002</c:v>
                </c:pt>
                <c:pt idx="230">
                  <c:v>2.6465999999999998</c:v>
                </c:pt>
                <c:pt idx="231">
                  <c:v>2.5722</c:v>
                </c:pt>
                <c:pt idx="232">
                  <c:v>2.6775000000000002</c:v>
                </c:pt>
                <c:pt idx="233">
                  <c:v>2.2498999999999998</c:v>
                </c:pt>
                <c:pt idx="234">
                  <c:v>2.1755</c:v>
                </c:pt>
                <c:pt idx="235">
                  <c:v>2.2065000000000001</c:v>
                </c:pt>
                <c:pt idx="236">
                  <c:v>2.4668000000000001</c:v>
                </c:pt>
                <c:pt idx="237">
                  <c:v>2.3923999999999999</c:v>
                </c:pt>
                <c:pt idx="238">
                  <c:v>2.5350000000000001</c:v>
                </c:pt>
                <c:pt idx="239">
                  <c:v>2.4296000000000002</c:v>
                </c:pt>
                <c:pt idx="240">
                  <c:v>1.9772000000000001</c:v>
                </c:pt>
                <c:pt idx="241">
                  <c:v>1.7726</c:v>
                </c:pt>
                <c:pt idx="242">
                  <c:v>1.7231000000000001</c:v>
                </c:pt>
                <c:pt idx="243">
                  <c:v>1.7664</c:v>
                </c:pt>
                <c:pt idx="244">
                  <c:v>1.7354000000000001</c:v>
                </c:pt>
                <c:pt idx="245">
                  <c:v>1.6611</c:v>
                </c:pt>
                <c:pt idx="246">
                  <c:v>1.6052999999999999</c:v>
                </c:pt>
                <c:pt idx="247">
                  <c:v>1.5867</c:v>
                </c:pt>
                <c:pt idx="248">
                  <c:v>1.5557000000000001</c:v>
                </c:pt>
                <c:pt idx="249">
                  <c:v>1.4813000000000001</c:v>
                </c:pt>
                <c:pt idx="250">
                  <c:v>1.4193</c:v>
                </c:pt>
                <c:pt idx="251">
                  <c:v>1.3388</c:v>
                </c:pt>
                <c:pt idx="252">
                  <c:v>1.3140000000000001</c:v>
                </c:pt>
                <c:pt idx="253">
                  <c:v>1.2458</c:v>
                </c:pt>
                <c:pt idx="254">
                  <c:v>1.2272000000000001</c:v>
                </c:pt>
                <c:pt idx="255">
                  <c:v>1.2458</c:v>
                </c:pt>
                <c:pt idx="256">
                  <c:v>1.2706</c:v>
                </c:pt>
                <c:pt idx="257">
                  <c:v>1.3264</c:v>
                </c:pt>
                <c:pt idx="258">
                  <c:v>1.3635999999999999</c:v>
                </c:pt>
                <c:pt idx="259">
                  <c:v>1.4193</c:v>
                </c:pt>
                <c:pt idx="260">
                  <c:v>1.3512</c:v>
                </c:pt>
                <c:pt idx="261">
                  <c:v>1.3512</c:v>
                </c:pt>
                <c:pt idx="262">
                  <c:v>1.4440999999999999</c:v>
                </c:pt>
                <c:pt idx="263">
                  <c:v>1.8966000000000001</c:v>
                </c:pt>
                <c:pt idx="264">
                  <c:v>1.8408</c:v>
                </c:pt>
                <c:pt idx="265">
                  <c:v>1.847</c:v>
                </c:pt>
                <c:pt idx="266">
                  <c:v>2.1755</c:v>
                </c:pt>
                <c:pt idx="267">
                  <c:v>2.7395</c:v>
                </c:pt>
                <c:pt idx="268">
                  <c:v>3.0741999999999998</c:v>
                </c:pt>
                <c:pt idx="269">
                  <c:v>12.334099999999999</c:v>
                </c:pt>
                <c:pt idx="270">
                  <c:v>5.3489000000000004</c:v>
                </c:pt>
                <c:pt idx="271">
                  <c:v>8.2186000000000003</c:v>
                </c:pt>
                <c:pt idx="272">
                  <c:v>8.2433999999999994</c:v>
                </c:pt>
                <c:pt idx="273">
                  <c:v>4.8468999999999998</c:v>
                </c:pt>
                <c:pt idx="274">
                  <c:v>5.5595999999999997</c:v>
                </c:pt>
                <c:pt idx="275">
                  <c:v>4.3944000000000001</c:v>
                </c:pt>
                <c:pt idx="276">
                  <c:v>4.2332999999999998</c:v>
                </c:pt>
                <c:pt idx="277">
                  <c:v>3.8304</c:v>
                </c:pt>
                <c:pt idx="278">
                  <c:v>3.4089</c:v>
                </c:pt>
                <c:pt idx="279">
                  <c:v>3.5949</c:v>
                </c:pt>
                <c:pt idx="280">
                  <c:v>3.4771000000000001</c:v>
                </c:pt>
                <c:pt idx="281">
                  <c:v>3.4647000000000001</c:v>
                </c:pt>
                <c:pt idx="282">
                  <c:v>3.5019</c:v>
                </c:pt>
                <c:pt idx="283">
                  <c:v>3.4399000000000002</c:v>
                </c:pt>
                <c:pt idx="284">
                  <c:v>3.4150999999999998</c:v>
                </c:pt>
                <c:pt idx="285">
                  <c:v>3.5329000000000002</c:v>
                </c:pt>
                <c:pt idx="286">
                  <c:v>4.0597000000000003</c:v>
                </c:pt>
                <c:pt idx="287">
                  <c:v>4.7725</c:v>
                </c:pt>
                <c:pt idx="288">
                  <c:v>5.6340000000000003</c:v>
                </c:pt>
                <c:pt idx="289">
                  <c:v>5.1382000000000003</c:v>
                </c:pt>
                <c:pt idx="290">
                  <c:v>4.9645999999999999</c:v>
                </c:pt>
                <c:pt idx="291">
                  <c:v>5.6898</c:v>
                </c:pt>
                <c:pt idx="292">
                  <c:v>5.5347999999999997</c:v>
                </c:pt>
                <c:pt idx="293">
                  <c:v>5.3178999999999998</c:v>
                </c:pt>
                <c:pt idx="294">
                  <c:v>4.9770000000000003</c:v>
                </c:pt>
                <c:pt idx="295">
                  <c:v>4.9893999999999998</c:v>
                </c:pt>
                <c:pt idx="296">
                  <c:v>5.758</c:v>
                </c:pt>
                <c:pt idx="297">
                  <c:v>6.5079000000000002</c:v>
                </c:pt>
                <c:pt idx="298">
                  <c:v>6.1051000000000002</c:v>
                </c:pt>
                <c:pt idx="299">
                  <c:v>6.3715999999999999</c:v>
                </c:pt>
                <c:pt idx="300">
                  <c:v>6.9169999999999998</c:v>
                </c:pt>
                <c:pt idx="301">
                  <c:v>8.702</c:v>
                </c:pt>
                <c:pt idx="302">
                  <c:v>8.0698000000000008</c:v>
                </c:pt>
                <c:pt idx="303">
                  <c:v>8.4045000000000005</c:v>
                </c:pt>
                <c:pt idx="304">
                  <c:v>8.6771999999999991</c:v>
                </c:pt>
                <c:pt idx="305">
                  <c:v>8.6339000000000006</c:v>
                </c:pt>
                <c:pt idx="306">
                  <c:v>7.7412999999999998</c:v>
                </c:pt>
                <c:pt idx="307">
                  <c:v>6.6071</c:v>
                </c:pt>
                <c:pt idx="308">
                  <c:v>5.5906000000000002</c:v>
                </c:pt>
                <c:pt idx="309">
                  <c:v>6.7805999999999997</c:v>
                </c:pt>
                <c:pt idx="310">
                  <c:v>6.3468</c:v>
                </c:pt>
                <c:pt idx="311">
                  <c:v>6.415</c:v>
                </c:pt>
                <c:pt idx="312">
                  <c:v>6.415</c:v>
                </c:pt>
                <c:pt idx="313">
                  <c:v>6.3281999999999998</c:v>
                </c:pt>
                <c:pt idx="314">
                  <c:v>5.8014000000000001</c:v>
                </c:pt>
                <c:pt idx="315">
                  <c:v>6.5761000000000003</c:v>
                </c:pt>
                <c:pt idx="316">
                  <c:v>6.3220000000000001</c:v>
                </c:pt>
                <c:pt idx="317">
                  <c:v>6.1051000000000002</c:v>
                </c:pt>
                <c:pt idx="318">
                  <c:v>6.0678999999999998</c:v>
                </c:pt>
                <c:pt idx="319">
                  <c:v>5.8384999999999998</c:v>
                </c:pt>
                <c:pt idx="320">
                  <c:v>5.3426999999999998</c:v>
                </c:pt>
                <c:pt idx="321">
                  <c:v>5.4790999999999999</c:v>
                </c:pt>
                <c:pt idx="322">
                  <c:v>5.7952000000000004</c:v>
                </c:pt>
                <c:pt idx="323">
                  <c:v>6.1360000000000001</c:v>
                </c:pt>
                <c:pt idx="324">
                  <c:v>5.7827999999999999</c:v>
                </c:pt>
                <c:pt idx="325">
                  <c:v>5.9873000000000003</c:v>
                </c:pt>
                <c:pt idx="326">
                  <c:v>5.7518000000000002</c:v>
                </c:pt>
                <c:pt idx="327">
                  <c:v>6.0617000000000001</c:v>
                </c:pt>
                <c:pt idx="328">
                  <c:v>6.1917999999999997</c:v>
                </c:pt>
                <c:pt idx="329">
                  <c:v>6.2972000000000001</c:v>
                </c:pt>
                <c:pt idx="330">
                  <c:v>7.1276999999999999</c:v>
                </c:pt>
                <c:pt idx="331">
                  <c:v>7.1029</c:v>
                </c:pt>
                <c:pt idx="332">
                  <c:v>6.7248999999999999</c:v>
                </c:pt>
                <c:pt idx="333">
                  <c:v>6.3220000000000001</c:v>
                </c:pt>
                <c:pt idx="334">
                  <c:v>6.2165999999999997</c:v>
                </c:pt>
                <c:pt idx="335">
                  <c:v>6.0183</c:v>
                </c:pt>
                <c:pt idx="336">
                  <c:v>5.82</c:v>
                </c:pt>
                <c:pt idx="337">
                  <c:v>5.6836000000000002</c:v>
                </c:pt>
                <c:pt idx="338">
                  <c:v>5.5781999999999998</c:v>
                </c:pt>
                <c:pt idx="339">
                  <c:v>5.8943000000000003</c:v>
                </c:pt>
                <c:pt idx="340">
                  <c:v>6.0369000000000002</c:v>
                </c:pt>
                <c:pt idx="341">
                  <c:v>6.2290000000000001</c:v>
                </c:pt>
                <c:pt idx="342">
                  <c:v>6.3963999999999999</c:v>
                </c:pt>
                <c:pt idx="343">
                  <c:v>7.9149000000000003</c:v>
                </c:pt>
                <c:pt idx="344">
                  <c:v>8.0449999999999999</c:v>
                </c:pt>
                <c:pt idx="345">
                  <c:v>8.6463000000000001</c:v>
                </c:pt>
                <c:pt idx="346">
                  <c:v>8.6958000000000002</c:v>
                </c:pt>
                <c:pt idx="347">
                  <c:v>7.8342999999999998</c:v>
                </c:pt>
                <c:pt idx="348">
                  <c:v>7.7785000000000002</c:v>
                </c:pt>
                <c:pt idx="349">
                  <c:v>7.4871999999999996</c:v>
                </c:pt>
                <c:pt idx="350">
                  <c:v>8.4788999999999994</c:v>
                </c:pt>
                <c:pt idx="351">
                  <c:v>10.170999999999999</c:v>
                </c:pt>
                <c:pt idx="352">
                  <c:v>12.1233</c:v>
                </c:pt>
                <c:pt idx="353">
                  <c:v>16.437200000000001</c:v>
                </c:pt>
                <c:pt idx="354">
                  <c:v>16.189299999999999</c:v>
                </c:pt>
                <c:pt idx="355">
                  <c:v>19.858499999999999</c:v>
                </c:pt>
                <c:pt idx="356">
                  <c:v>38.768700000000003</c:v>
                </c:pt>
                <c:pt idx="357">
                  <c:v>31.820699999999999</c:v>
                </c:pt>
                <c:pt idx="358">
                  <c:v>29.694800000000001</c:v>
                </c:pt>
                <c:pt idx="359">
                  <c:v>34.089199999999998</c:v>
                </c:pt>
                <c:pt idx="360">
                  <c:v>34.120199999999997</c:v>
                </c:pt>
                <c:pt idx="361">
                  <c:v>30.581099999999999</c:v>
                </c:pt>
                <c:pt idx="362">
                  <c:v>26.533799999999999</c:v>
                </c:pt>
                <c:pt idx="363">
                  <c:v>30.618300000000001</c:v>
                </c:pt>
                <c:pt idx="364">
                  <c:v>35.328800000000001</c:v>
                </c:pt>
                <c:pt idx="365">
                  <c:v>36.593200000000003</c:v>
                </c:pt>
                <c:pt idx="366">
                  <c:v>34.200699999999998</c:v>
                </c:pt>
                <c:pt idx="367">
                  <c:v>37.640599999999999</c:v>
                </c:pt>
                <c:pt idx="368">
                  <c:v>36.729500000000002</c:v>
                </c:pt>
                <c:pt idx="369">
                  <c:v>34.516800000000003</c:v>
                </c:pt>
                <c:pt idx="370">
                  <c:v>36.115900000000003</c:v>
                </c:pt>
                <c:pt idx="371">
                  <c:v>36.134500000000003</c:v>
                </c:pt>
                <c:pt idx="372">
                  <c:v>35.142800000000001</c:v>
                </c:pt>
                <c:pt idx="373">
                  <c:v>33.506599999999999</c:v>
                </c:pt>
                <c:pt idx="374">
                  <c:v>36.016800000000003</c:v>
                </c:pt>
                <c:pt idx="375">
                  <c:v>34.975499999999997</c:v>
                </c:pt>
                <c:pt idx="376">
                  <c:v>35.130400000000002</c:v>
                </c:pt>
                <c:pt idx="377">
                  <c:v>33.605699999999999</c:v>
                </c:pt>
                <c:pt idx="378">
                  <c:v>32.204999999999998</c:v>
                </c:pt>
                <c:pt idx="379">
                  <c:v>30.965399999999999</c:v>
                </c:pt>
                <c:pt idx="380">
                  <c:v>27.9345</c:v>
                </c:pt>
                <c:pt idx="381">
                  <c:v>29.7134</c:v>
                </c:pt>
                <c:pt idx="382">
                  <c:v>28.628699999999998</c:v>
                </c:pt>
                <c:pt idx="383">
                  <c:v>26.409800000000001</c:v>
                </c:pt>
                <c:pt idx="384">
                  <c:v>24.389199999999999</c:v>
                </c:pt>
                <c:pt idx="385">
                  <c:v>20.72</c:v>
                </c:pt>
                <c:pt idx="386">
                  <c:v>22.312899999999999</c:v>
                </c:pt>
                <c:pt idx="387">
                  <c:v>21.668299999999999</c:v>
                </c:pt>
                <c:pt idx="388">
                  <c:v>21.457599999999999</c:v>
                </c:pt>
                <c:pt idx="389">
                  <c:v>26.7073</c:v>
                </c:pt>
                <c:pt idx="390">
                  <c:v>25.275600000000001</c:v>
                </c:pt>
                <c:pt idx="391">
                  <c:v>23.081499999999998</c:v>
                </c:pt>
                <c:pt idx="392">
                  <c:v>22.926500000000001</c:v>
                </c:pt>
                <c:pt idx="393">
                  <c:v>24.971900000000002</c:v>
                </c:pt>
                <c:pt idx="394">
                  <c:v>23.558700000000002</c:v>
                </c:pt>
                <c:pt idx="395">
                  <c:v>24.110299999999999</c:v>
                </c:pt>
                <c:pt idx="396">
                  <c:v>23.633099999999999</c:v>
                </c:pt>
                <c:pt idx="397">
                  <c:v>22.9451</c:v>
                </c:pt>
                <c:pt idx="398">
                  <c:v>21.8171</c:v>
                </c:pt>
                <c:pt idx="399">
                  <c:v>20.819199999999999</c:v>
                </c:pt>
                <c:pt idx="400">
                  <c:v>18.494900000000001</c:v>
                </c:pt>
                <c:pt idx="401">
                  <c:v>20.769600000000001</c:v>
                </c:pt>
                <c:pt idx="402">
                  <c:v>20.267600000000002</c:v>
                </c:pt>
                <c:pt idx="403">
                  <c:v>20.949300000000001</c:v>
                </c:pt>
                <c:pt idx="404">
                  <c:v>19.678699999999999</c:v>
                </c:pt>
                <c:pt idx="405">
                  <c:v>19.5548</c:v>
                </c:pt>
                <c:pt idx="406">
                  <c:v>20.4969</c:v>
                </c:pt>
                <c:pt idx="407">
                  <c:v>20.744800000000001</c:v>
                </c:pt>
                <c:pt idx="408">
                  <c:v>22.120799999999999</c:v>
                </c:pt>
                <c:pt idx="409">
                  <c:v>23.0319</c:v>
                </c:pt>
                <c:pt idx="410">
                  <c:v>22.6538</c:v>
                </c:pt>
                <c:pt idx="411">
                  <c:v>20.9617</c:v>
                </c:pt>
                <c:pt idx="412">
                  <c:v>21.327400000000001</c:v>
                </c:pt>
                <c:pt idx="413">
                  <c:v>22.796399999999998</c:v>
                </c:pt>
                <c:pt idx="414">
                  <c:v>27.432500000000001</c:v>
                </c:pt>
                <c:pt idx="415">
                  <c:v>27.246500000000001</c:v>
                </c:pt>
                <c:pt idx="416">
                  <c:v>24.984300000000001</c:v>
                </c:pt>
                <c:pt idx="417">
                  <c:v>25.312799999999999</c:v>
                </c:pt>
                <c:pt idx="418">
                  <c:v>26.856100000000001</c:v>
                </c:pt>
                <c:pt idx="419">
                  <c:v>29.211300000000001</c:v>
                </c:pt>
                <c:pt idx="420">
                  <c:v>27.0792</c:v>
                </c:pt>
                <c:pt idx="421">
                  <c:v>27.506900000000002</c:v>
                </c:pt>
                <c:pt idx="422">
                  <c:v>27.2837</c:v>
                </c:pt>
                <c:pt idx="423">
                  <c:v>29.645199999999999</c:v>
                </c:pt>
                <c:pt idx="424">
                  <c:v>29.378699999999998</c:v>
                </c:pt>
                <c:pt idx="425">
                  <c:v>30.072800000000001</c:v>
                </c:pt>
                <c:pt idx="426">
                  <c:v>31.089300000000001</c:v>
                </c:pt>
                <c:pt idx="427">
                  <c:v>32.037599999999998</c:v>
                </c:pt>
                <c:pt idx="428">
                  <c:v>29.316700000000001</c:v>
                </c:pt>
                <c:pt idx="429">
                  <c:v>29.031600000000001</c:v>
                </c:pt>
                <c:pt idx="430">
                  <c:v>28.535699999999999</c:v>
                </c:pt>
                <c:pt idx="431">
                  <c:v>27.395299999999999</c:v>
                </c:pt>
                <c:pt idx="432">
                  <c:v>24.971900000000002</c:v>
                </c:pt>
                <c:pt idx="433">
                  <c:v>24.0608</c:v>
                </c:pt>
                <c:pt idx="434">
                  <c:v>24.841699999999999</c:v>
                </c:pt>
                <c:pt idx="435">
                  <c:v>24.779699999999998</c:v>
                </c:pt>
                <c:pt idx="436">
                  <c:v>24.798300000000001</c:v>
                </c:pt>
                <c:pt idx="437">
                  <c:v>24.3583</c:v>
                </c:pt>
                <c:pt idx="438">
                  <c:v>22.926500000000001</c:v>
                </c:pt>
                <c:pt idx="439">
                  <c:v>22.027799999999999</c:v>
                </c:pt>
                <c:pt idx="440">
                  <c:v>23.589700000000001</c:v>
                </c:pt>
                <c:pt idx="441">
                  <c:v>23.837599999999998</c:v>
                </c:pt>
                <c:pt idx="442">
                  <c:v>22.790199999999999</c:v>
                </c:pt>
                <c:pt idx="443">
                  <c:v>22.969899999999999</c:v>
                </c:pt>
                <c:pt idx="444">
                  <c:v>22.827300000000001</c:v>
                </c:pt>
                <c:pt idx="445">
                  <c:v>23.639299999999999</c:v>
                </c:pt>
                <c:pt idx="446">
                  <c:v>23.0505</c:v>
                </c:pt>
                <c:pt idx="447">
                  <c:v>23.087700000000002</c:v>
                </c:pt>
                <c:pt idx="448">
                  <c:v>22.821100000000001</c:v>
                </c:pt>
                <c:pt idx="449">
                  <c:v>23.496700000000001</c:v>
                </c:pt>
                <c:pt idx="450">
                  <c:v>24.8355</c:v>
                </c:pt>
                <c:pt idx="451">
                  <c:v>25.250800000000002</c:v>
                </c:pt>
                <c:pt idx="452">
                  <c:v>26.670100000000001</c:v>
                </c:pt>
                <c:pt idx="453">
                  <c:v>25.288</c:v>
                </c:pt>
                <c:pt idx="454">
                  <c:v>25.337499999999999</c:v>
                </c:pt>
                <c:pt idx="455">
                  <c:v>24.321100000000001</c:v>
                </c:pt>
                <c:pt idx="456">
                  <c:v>22.684799999999999</c:v>
                </c:pt>
                <c:pt idx="457">
                  <c:v>22.827300000000001</c:v>
                </c:pt>
                <c:pt idx="458">
                  <c:v>22.343900000000001</c:v>
                </c:pt>
                <c:pt idx="459">
                  <c:v>21.5444</c:v>
                </c:pt>
                <c:pt idx="460">
                  <c:v>21.835699999999999</c:v>
                </c:pt>
                <c:pt idx="461">
                  <c:v>21.9224</c:v>
                </c:pt>
                <c:pt idx="462">
                  <c:v>22.976099999999999</c:v>
                </c:pt>
                <c:pt idx="463">
                  <c:v>24.042200000000001</c:v>
                </c:pt>
                <c:pt idx="464">
                  <c:v>25.2818</c:v>
                </c:pt>
                <c:pt idx="465">
                  <c:v>24.8231</c:v>
                </c:pt>
                <c:pt idx="466">
                  <c:v>25.845800000000001</c:v>
                </c:pt>
                <c:pt idx="467">
                  <c:v>27.9283</c:v>
                </c:pt>
                <c:pt idx="468">
                  <c:v>24.748699999999999</c:v>
                </c:pt>
                <c:pt idx="469">
                  <c:v>23.732299999999999</c:v>
                </c:pt>
                <c:pt idx="470">
                  <c:v>24.4574</c:v>
                </c:pt>
                <c:pt idx="471">
                  <c:v>24.792100000000001</c:v>
                </c:pt>
                <c:pt idx="472">
                  <c:v>26.453199999999999</c:v>
                </c:pt>
                <c:pt idx="473">
                  <c:v>26.403600000000001</c:v>
                </c:pt>
                <c:pt idx="474">
                  <c:v>26.112300000000001</c:v>
                </c:pt>
                <c:pt idx="475">
                  <c:v>25.046199999999999</c:v>
                </c:pt>
                <c:pt idx="476">
                  <c:v>25.331299999999999</c:v>
                </c:pt>
                <c:pt idx="477">
                  <c:v>25.560700000000001</c:v>
                </c:pt>
                <c:pt idx="478">
                  <c:v>24.2715</c:v>
                </c:pt>
                <c:pt idx="479">
                  <c:v>24.104099999999999</c:v>
                </c:pt>
                <c:pt idx="480">
                  <c:v>23.3232</c:v>
                </c:pt>
                <c:pt idx="481">
                  <c:v>22.833500000000001</c:v>
                </c:pt>
                <c:pt idx="482">
                  <c:v>21.036100000000001</c:v>
                </c:pt>
                <c:pt idx="483">
                  <c:v>17.707799999999999</c:v>
                </c:pt>
                <c:pt idx="484">
                  <c:v>18.767600000000002</c:v>
                </c:pt>
                <c:pt idx="485">
                  <c:v>17.980499999999999</c:v>
                </c:pt>
                <c:pt idx="486">
                  <c:v>17.844100000000001</c:v>
                </c:pt>
                <c:pt idx="487">
                  <c:v>19.238700000000001</c:v>
                </c:pt>
                <c:pt idx="488">
                  <c:v>20.050599999999999</c:v>
                </c:pt>
                <c:pt idx="489">
                  <c:v>18.259399999999999</c:v>
                </c:pt>
                <c:pt idx="490">
                  <c:v>17.007400000000001</c:v>
                </c:pt>
                <c:pt idx="491">
                  <c:v>14.404199999999999</c:v>
                </c:pt>
                <c:pt idx="492">
                  <c:v>15.1852</c:v>
                </c:pt>
                <c:pt idx="493">
                  <c:v>15.2843</c:v>
                </c:pt>
                <c:pt idx="494">
                  <c:v>15.154199999999999</c:v>
                </c:pt>
                <c:pt idx="495">
                  <c:v>18.0487</c:v>
                </c:pt>
                <c:pt idx="496">
                  <c:v>18.408100000000001</c:v>
                </c:pt>
                <c:pt idx="497">
                  <c:v>18.78</c:v>
                </c:pt>
                <c:pt idx="498">
                  <c:v>17.776</c:v>
                </c:pt>
                <c:pt idx="499">
                  <c:v>17.6768</c:v>
                </c:pt>
                <c:pt idx="500">
                  <c:v>17.7883</c:v>
                </c:pt>
                <c:pt idx="501">
                  <c:v>17.180900000000001</c:v>
                </c:pt>
                <c:pt idx="502">
                  <c:v>17.323499999999999</c:v>
                </c:pt>
                <c:pt idx="503">
                  <c:v>17.937100000000001</c:v>
                </c:pt>
                <c:pt idx="504">
                  <c:v>16.858599999999999</c:v>
                </c:pt>
                <c:pt idx="505">
                  <c:v>16.437200000000001</c:v>
                </c:pt>
                <c:pt idx="506">
                  <c:v>15.7988</c:v>
                </c:pt>
                <c:pt idx="507">
                  <c:v>14.1005</c:v>
                </c:pt>
                <c:pt idx="508">
                  <c:v>13.9208</c:v>
                </c:pt>
                <c:pt idx="509">
                  <c:v>14.2493</c:v>
                </c:pt>
                <c:pt idx="510">
                  <c:v>14.1191</c:v>
                </c:pt>
                <c:pt idx="511">
                  <c:v>14.125299999999999</c:v>
                </c:pt>
                <c:pt idx="512">
                  <c:v>14.081899999999999</c:v>
                </c:pt>
                <c:pt idx="513">
                  <c:v>12.805099999999999</c:v>
                </c:pt>
                <c:pt idx="514">
                  <c:v>12.7493</c:v>
                </c:pt>
                <c:pt idx="515">
                  <c:v>11.677099999999999</c:v>
                </c:pt>
                <c:pt idx="516">
                  <c:v>11.354799999999999</c:v>
                </c:pt>
                <c:pt idx="517">
                  <c:v>11.1998</c:v>
                </c:pt>
                <c:pt idx="518">
                  <c:v>11.1379</c:v>
                </c:pt>
                <c:pt idx="519">
                  <c:v>10.313499999999999</c:v>
                </c:pt>
                <c:pt idx="520">
                  <c:v>9.9291999999999998</c:v>
                </c:pt>
                <c:pt idx="521">
                  <c:v>9.8796999999999997</c:v>
                </c:pt>
                <c:pt idx="522">
                  <c:v>8.9994999999999994</c:v>
                </c:pt>
                <c:pt idx="523">
                  <c:v>9.3341999999999992</c:v>
                </c:pt>
                <c:pt idx="524">
                  <c:v>9.9540000000000006</c:v>
                </c:pt>
                <c:pt idx="525">
                  <c:v>10.4499</c:v>
                </c:pt>
                <c:pt idx="526">
                  <c:v>9.5573999999999995</c:v>
                </c:pt>
                <c:pt idx="527">
                  <c:v>9.2164999999999999</c:v>
                </c:pt>
                <c:pt idx="528">
                  <c:v>9.5139999999999993</c:v>
                </c:pt>
                <c:pt idx="529">
                  <c:v>9.2413000000000007</c:v>
                </c:pt>
                <c:pt idx="530">
                  <c:v>10.183400000000001</c:v>
                </c:pt>
                <c:pt idx="531">
                  <c:v>11.739100000000001</c:v>
                </c:pt>
                <c:pt idx="532">
                  <c:v>11.5221</c:v>
                </c:pt>
                <c:pt idx="533">
                  <c:v>11.6585</c:v>
                </c:pt>
                <c:pt idx="534">
                  <c:v>11.0015</c:v>
                </c:pt>
                <c:pt idx="535">
                  <c:v>12.0738</c:v>
                </c:pt>
                <c:pt idx="536">
                  <c:v>12.1915</c:v>
                </c:pt>
                <c:pt idx="537">
                  <c:v>11.739100000000001</c:v>
                </c:pt>
                <c:pt idx="538">
                  <c:v>11.0945</c:v>
                </c:pt>
                <c:pt idx="539">
                  <c:v>10.2082</c:v>
                </c:pt>
                <c:pt idx="540">
                  <c:v>9.7494999999999994</c:v>
                </c:pt>
                <c:pt idx="541">
                  <c:v>10.9581</c:v>
                </c:pt>
                <c:pt idx="542">
                  <c:v>10.9457</c:v>
                </c:pt>
                <c:pt idx="543">
                  <c:v>11.689500000000001</c:v>
                </c:pt>
                <c:pt idx="544">
                  <c:v>11.354799999999999</c:v>
                </c:pt>
                <c:pt idx="545">
                  <c:v>11.4849</c:v>
                </c:pt>
                <c:pt idx="546">
                  <c:v>11.1936</c:v>
                </c:pt>
                <c:pt idx="547">
                  <c:v>10.270099999999999</c:v>
                </c:pt>
                <c:pt idx="548">
                  <c:v>9.4271999999999991</c:v>
                </c:pt>
                <c:pt idx="549">
                  <c:v>9.5388000000000002</c:v>
                </c:pt>
                <c:pt idx="550">
                  <c:v>9.7370999999999999</c:v>
                </c:pt>
                <c:pt idx="551">
                  <c:v>9.4954000000000001</c:v>
                </c:pt>
                <c:pt idx="552">
                  <c:v>8.8632000000000009</c:v>
                </c:pt>
                <c:pt idx="553">
                  <c:v>8.4045000000000005</c:v>
                </c:pt>
                <c:pt idx="554">
                  <c:v>8.9747000000000003</c:v>
                </c:pt>
                <c:pt idx="555">
                  <c:v>9.4396000000000004</c:v>
                </c:pt>
                <c:pt idx="556">
                  <c:v>9.4147999999999996</c:v>
                </c:pt>
                <c:pt idx="557">
                  <c:v>9.7928999999999995</c:v>
                </c:pt>
                <c:pt idx="558">
                  <c:v>9.8300999999999998</c:v>
                </c:pt>
                <c:pt idx="559">
                  <c:v>11.317600000000001</c:v>
                </c:pt>
                <c:pt idx="560">
                  <c:v>12.854699999999999</c:v>
                </c:pt>
                <c:pt idx="561">
                  <c:v>12.538600000000001</c:v>
                </c:pt>
                <c:pt idx="562">
                  <c:v>12.5448</c:v>
                </c:pt>
                <c:pt idx="563">
                  <c:v>18.178799999999999</c:v>
                </c:pt>
                <c:pt idx="564">
                  <c:v>18.247</c:v>
                </c:pt>
                <c:pt idx="565">
                  <c:v>15.916499999999999</c:v>
                </c:pt>
                <c:pt idx="566">
                  <c:v>15.2719</c:v>
                </c:pt>
                <c:pt idx="567">
                  <c:v>14.4414</c:v>
                </c:pt>
                <c:pt idx="568">
                  <c:v>14.4476</c:v>
                </c:pt>
                <c:pt idx="569">
                  <c:v>13.146000000000001</c:v>
                </c:pt>
                <c:pt idx="570">
                  <c:v>12.6378</c:v>
                </c:pt>
                <c:pt idx="571">
                  <c:v>12.2287</c:v>
                </c:pt>
                <c:pt idx="572">
                  <c:v>11.305199999999999</c:v>
                </c:pt>
                <c:pt idx="573">
                  <c:v>11.6027</c:v>
                </c:pt>
                <c:pt idx="574">
                  <c:v>10.797000000000001</c:v>
                </c:pt>
                <c:pt idx="575">
                  <c:v>11.4849</c:v>
                </c:pt>
                <c:pt idx="576">
                  <c:v>11.168900000000001</c:v>
                </c:pt>
                <c:pt idx="577">
                  <c:v>10.834199999999999</c:v>
                </c:pt>
                <c:pt idx="578">
                  <c:v>11.5779</c:v>
                </c:pt>
                <c:pt idx="579">
                  <c:v>10.747400000000001</c:v>
                </c:pt>
                <c:pt idx="580">
                  <c:v>10.4437</c:v>
                </c:pt>
                <c:pt idx="581">
                  <c:v>10.239100000000001</c:v>
                </c:pt>
                <c:pt idx="582">
                  <c:v>10.511900000000001</c:v>
                </c:pt>
                <c:pt idx="583">
                  <c:v>9.6068999999999996</c:v>
                </c:pt>
                <c:pt idx="584">
                  <c:v>9.8239000000000001</c:v>
                </c:pt>
                <c:pt idx="585">
                  <c:v>9.6936999999999998</c:v>
                </c:pt>
                <c:pt idx="586">
                  <c:v>9.4830000000000005</c:v>
                </c:pt>
                <c:pt idx="587">
                  <c:v>9.4581999999999997</c:v>
                </c:pt>
                <c:pt idx="588">
                  <c:v>9.6130999999999993</c:v>
                </c:pt>
                <c:pt idx="589">
                  <c:v>9.7432999999999996</c:v>
                </c:pt>
                <c:pt idx="590">
                  <c:v>9.1049000000000007</c:v>
                </c:pt>
                <c:pt idx="591">
                  <c:v>8.5284999999999993</c:v>
                </c:pt>
                <c:pt idx="592">
                  <c:v>7.7599</c:v>
                </c:pt>
                <c:pt idx="593">
                  <c:v>7.3384999999999998</c:v>
                </c:pt>
                <c:pt idx="594">
                  <c:v>6.4273999999999996</c:v>
                </c:pt>
                <c:pt idx="595">
                  <c:v>6.9417999999999997</c:v>
                </c:pt>
                <c:pt idx="596">
                  <c:v>7.3198999999999996</c:v>
                </c:pt>
                <c:pt idx="597">
                  <c:v>7.2579000000000002</c:v>
                </c:pt>
                <c:pt idx="598">
                  <c:v>7.9954999999999998</c:v>
                </c:pt>
                <c:pt idx="599">
                  <c:v>7.9086999999999996</c:v>
                </c:pt>
                <c:pt idx="600">
                  <c:v>8.1069999999999993</c:v>
                </c:pt>
                <c:pt idx="601">
                  <c:v>7.4561999999999999</c:v>
                </c:pt>
                <c:pt idx="602">
                  <c:v>7.1772999999999998</c:v>
                </c:pt>
                <c:pt idx="603">
                  <c:v>6.4398</c:v>
                </c:pt>
                <c:pt idx="604">
                  <c:v>7.3632999999999997</c:v>
                </c:pt>
                <c:pt idx="605">
                  <c:v>7.5801999999999996</c:v>
                </c:pt>
                <c:pt idx="606">
                  <c:v>8.9437999999999995</c:v>
                </c:pt>
                <c:pt idx="607">
                  <c:v>8.8879999999999999</c:v>
                </c:pt>
                <c:pt idx="608">
                  <c:v>7.9397000000000002</c:v>
                </c:pt>
                <c:pt idx="609">
                  <c:v>8.2433999999999994</c:v>
                </c:pt>
                <c:pt idx="610">
                  <c:v>7.7164999999999999</c:v>
                </c:pt>
                <c:pt idx="611">
                  <c:v>7.4066000000000001</c:v>
                </c:pt>
                <c:pt idx="612">
                  <c:v>8.1007999999999996</c:v>
                </c:pt>
                <c:pt idx="613">
                  <c:v>8.3796999999999997</c:v>
                </c:pt>
                <c:pt idx="614">
                  <c:v>7.9211</c:v>
                </c:pt>
                <c:pt idx="615">
                  <c:v>7.7042000000000002</c:v>
                </c:pt>
                <c:pt idx="616">
                  <c:v>7.1153000000000004</c:v>
                </c:pt>
                <c:pt idx="617">
                  <c:v>7.3880999999999997</c:v>
                </c:pt>
                <c:pt idx="618">
                  <c:v>7.9149000000000003</c:v>
                </c:pt>
                <c:pt idx="619">
                  <c:v>7.3075000000000001</c:v>
                </c:pt>
                <c:pt idx="620">
                  <c:v>7.7660999999999998</c:v>
                </c:pt>
                <c:pt idx="621">
                  <c:v>7.7474999999999996</c:v>
                </c:pt>
                <c:pt idx="622">
                  <c:v>7.8094999999999999</c:v>
                </c:pt>
                <c:pt idx="623">
                  <c:v>7.4686000000000003</c:v>
                </c:pt>
                <c:pt idx="624">
                  <c:v>7.7289000000000003</c:v>
                </c:pt>
                <c:pt idx="625">
                  <c:v>8.7577999999999996</c:v>
                </c:pt>
                <c:pt idx="626">
                  <c:v>8.2929999999999993</c:v>
                </c:pt>
                <c:pt idx="627">
                  <c:v>8.4603000000000002</c:v>
                </c:pt>
                <c:pt idx="628">
                  <c:v>8.3983000000000008</c:v>
                </c:pt>
                <c:pt idx="629">
                  <c:v>8.3858999999999995</c:v>
                </c:pt>
                <c:pt idx="630">
                  <c:v>7.9211</c:v>
                </c:pt>
                <c:pt idx="631">
                  <c:v>7.7908999999999997</c:v>
                </c:pt>
                <c:pt idx="632">
                  <c:v>8.9747000000000003</c:v>
                </c:pt>
                <c:pt idx="633">
                  <c:v>9.0862999999999996</c:v>
                </c:pt>
                <c:pt idx="634">
                  <c:v>9.2660999999999998</c:v>
                </c:pt>
                <c:pt idx="635">
                  <c:v>9.6689000000000007</c:v>
                </c:pt>
                <c:pt idx="636">
                  <c:v>9.3838000000000008</c:v>
                </c:pt>
                <c:pt idx="637">
                  <c:v>9.3341999999999992</c:v>
                </c:pt>
                <c:pt idx="638">
                  <c:v>9.5264000000000006</c:v>
                </c:pt>
                <c:pt idx="639">
                  <c:v>10.2515</c:v>
                </c:pt>
                <c:pt idx="640">
                  <c:v>10.14</c:v>
                </c:pt>
                <c:pt idx="641">
                  <c:v>10.8589</c:v>
                </c:pt>
                <c:pt idx="642">
                  <c:v>10.5367</c:v>
                </c:pt>
                <c:pt idx="643">
                  <c:v>9.6068999999999996</c:v>
                </c:pt>
                <c:pt idx="644">
                  <c:v>9.2413000000000007</c:v>
                </c:pt>
                <c:pt idx="645">
                  <c:v>8.6958000000000002</c:v>
                </c:pt>
                <c:pt idx="646">
                  <c:v>8.9747000000000003</c:v>
                </c:pt>
                <c:pt idx="647">
                  <c:v>9.0366999999999997</c:v>
                </c:pt>
                <c:pt idx="648">
                  <c:v>9.0243000000000002</c:v>
                </c:pt>
                <c:pt idx="649">
                  <c:v>9.5264000000000006</c:v>
                </c:pt>
                <c:pt idx="650">
                  <c:v>10.4499</c:v>
                </c:pt>
                <c:pt idx="651">
                  <c:v>11.2866</c:v>
                </c:pt>
                <c:pt idx="652">
                  <c:v>11.5655</c:v>
                </c:pt>
                <c:pt idx="653">
                  <c:v>13.747199999999999</c:v>
                </c:pt>
                <c:pt idx="654">
                  <c:v>14.8505</c:v>
                </c:pt>
                <c:pt idx="655">
                  <c:v>13.9146</c:v>
                </c:pt>
                <c:pt idx="656">
                  <c:v>14.6707</c:v>
                </c:pt>
                <c:pt idx="657">
                  <c:v>15.780200000000001</c:v>
                </c:pt>
                <c:pt idx="658">
                  <c:v>15.148</c:v>
                </c:pt>
                <c:pt idx="659">
                  <c:v>15.0054</c:v>
                </c:pt>
                <c:pt idx="660">
                  <c:v>15.3773</c:v>
                </c:pt>
                <c:pt idx="661">
                  <c:v>13.239000000000001</c:v>
                </c:pt>
                <c:pt idx="662">
                  <c:v>11.956</c:v>
                </c:pt>
                <c:pt idx="663">
                  <c:v>11.168900000000001</c:v>
                </c:pt>
                <c:pt idx="664">
                  <c:v>10.46</c:v>
                </c:pt>
                <c:pt idx="665">
                  <c:v>9.56</c:v>
                </c:pt>
                <c:pt idx="666">
                  <c:v>9.58</c:v>
                </c:pt>
                <c:pt idx="667">
                  <c:v>9.57</c:v>
                </c:pt>
                <c:pt idx="668">
                  <c:v>9.1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910-428C-8B7F-96DF43544825}"/>
            </c:ext>
          </c:extLst>
        </c:ser>
        <c:ser>
          <c:idx val="1"/>
          <c:order val="1"/>
          <c:spPr>
            <a:ln w="19050" cmpd="sng" algn="ctr">
              <a:solidFill>
                <a:srgbClr val="231F20"/>
              </a:solidFill>
              <a:prstDash val="solid"/>
            </a:ln>
          </c:spPr>
          <c:marker>
            <c:symbol val="none"/>
          </c:marker>
          <c:xVal>
            <c:numRef>
              <c:f>Sheet1!$A$1:$YS$1</c:f>
              <c:numCache>
                <c:formatCode>General</c:formatCode>
                <c:ptCount val="669"/>
                <c:pt idx="0">
                  <c:v>18263</c:v>
                </c:pt>
                <c:pt idx="1">
                  <c:v>18264</c:v>
                </c:pt>
                <c:pt idx="2">
                  <c:v>18267</c:v>
                </c:pt>
                <c:pt idx="3">
                  <c:v>18268</c:v>
                </c:pt>
                <c:pt idx="4">
                  <c:v>18269</c:v>
                </c:pt>
                <c:pt idx="5">
                  <c:v>18270</c:v>
                </c:pt>
                <c:pt idx="6">
                  <c:v>18271</c:v>
                </c:pt>
                <c:pt idx="7">
                  <c:v>18274</c:v>
                </c:pt>
                <c:pt idx="8">
                  <c:v>18275</c:v>
                </c:pt>
                <c:pt idx="9">
                  <c:v>18276</c:v>
                </c:pt>
                <c:pt idx="10">
                  <c:v>18277</c:v>
                </c:pt>
                <c:pt idx="11">
                  <c:v>18278</c:v>
                </c:pt>
                <c:pt idx="12">
                  <c:v>18282</c:v>
                </c:pt>
                <c:pt idx="13">
                  <c:v>18283</c:v>
                </c:pt>
                <c:pt idx="14">
                  <c:v>18284</c:v>
                </c:pt>
                <c:pt idx="15">
                  <c:v>18285</c:v>
                </c:pt>
                <c:pt idx="16">
                  <c:v>18288</c:v>
                </c:pt>
                <c:pt idx="17">
                  <c:v>18289</c:v>
                </c:pt>
                <c:pt idx="18">
                  <c:v>18290</c:v>
                </c:pt>
                <c:pt idx="19">
                  <c:v>18291</c:v>
                </c:pt>
                <c:pt idx="20">
                  <c:v>18292</c:v>
                </c:pt>
                <c:pt idx="21">
                  <c:v>18295</c:v>
                </c:pt>
                <c:pt idx="22">
                  <c:v>18296</c:v>
                </c:pt>
                <c:pt idx="23">
                  <c:v>18297</c:v>
                </c:pt>
                <c:pt idx="24">
                  <c:v>18298</c:v>
                </c:pt>
                <c:pt idx="25">
                  <c:v>18299</c:v>
                </c:pt>
                <c:pt idx="26">
                  <c:v>18302</c:v>
                </c:pt>
                <c:pt idx="27">
                  <c:v>18303</c:v>
                </c:pt>
                <c:pt idx="28">
                  <c:v>18304</c:v>
                </c:pt>
                <c:pt idx="29">
                  <c:v>18305</c:v>
                </c:pt>
                <c:pt idx="30">
                  <c:v>18306</c:v>
                </c:pt>
                <c:pt idx="31">
                  <c:v>18310</c:v>
                </c:pt>
                <c:pt idx="32">
                  <c:v>18311</c:v>
                </c:pt>
                <c:pt idx="33">
                  <c:v>18312</c:v>
                </c:pt>
                <c:pt idx="34">
                  <c:v>18313</c:v>
                </c:pt>
                <c:pt idx="35">
                  <c:v>18316</c:v>
                </c:pt>
                <c:pt idx="36">
                  <c:v>18317</c:v>
                </c:pt>
                <c:pt idx="37">
                  <c:v>18318</c:v>
                </c:pt>
                <c:pt idx="38">
                  <c:v>18319</c:v>
                </c:pt>
                <c:pt idx="39">
                  <c:v>18320</c:v>
                </c:pt>
                <c:pt idx="40">
                  <c:v>18323</c:v>
                </c:pt>
                <c:pt idx="41">
                  <c:v>18324</c:v>
                </c:pt>
                <c:pt idx="42">
                  <c:v>18325</c:v>
                </c:pt>
                <c:pt idx="43">
                  <c:v>18326</c:v>
                </c:pt>
                <c:pt idx="44">
                  <c:v>18327</c:v>
                </c:pt>
                <c:pt idx="45">
                  <c:v>18330</c:v>
                </c:pt>
                <c:pt idx="46">
                  <c:v>18331</c:v>
                </c:pt>
                <c:pt idx="47">
                  <c:v>18332</c:v>
                </c:pt>
                <c:pt idx="48">
                  <c:v>18333</c:v>
                </c:pt>
                <c:pt idx="49">
                  <c:v>18334</c:v>
                </c:pt>
                <c:pt idx="50">
                  <c:v>18337</c:v>
                </c:pt>
                <c:pt idx="51">
                  <c:v>18338</c:v>
                </c:pt>
                <c:pt idx="52">
                  <c:v>18339</c:v>
                </c:pt>
                <c:pt idx="53">
                  <c:v>18340</c:v>
                </c:pt>
                <c:pt idx="54">
                  <c:v>18341</c:v>
                </c:pt>
                <c:pt idx="55">
                  <c:v>18344</c:v>
                </c:pt>
                <c:pt idx="56">
                  <c:v>18345</c:v>
                </c:pt>
                <c:pt idx="57">
                  <c:v>18346</c:v>
                </c:pt>
                <c:pt idx="58">
                  <c:v>18347</c:v>
                </c:pt>
                <c:pt idx="59">
                  <c:v>18348</c:v>
                </c:pt>
                <c:pt idx="60">
                  <c:v>18351</c:v>
                </c:pt>
                <c:pt idx="61">
                  <c:v>18352</c:v>
                </c:pt>
                <c:pt idx="62">
                  <c:v>18353</c:v>
                </c:pt>
                <c:pt idx="63">
                  <c:v>18354</c:v>
                </c:pt>
                <c:pt idx="64">
                  <c:v>18355</c:v>
                </c:pt>
                <c:pt idx="65">
                  <c:v>18358</c:v>
                </c:pt>
                <c:pt idx="66">
                  <c:v>18359</c:v>
                </c:pt>
                <c:pt idx="67">
                  <c:v>18360</c:v>
                </c:pt>
                <c:pt idx="68">
                  <c:v>18361</c:v>
                </c:pt>
                <c:pt idx="69">
                  <c:v>18365</c:v>
                </c:pt>
                <c:pt idx="70">
                  <c:v>18366</c:v>
                </c:pt>
                <c:pt idx="71">
                  <c:v>18367</c:v>
                </c:pt>
                <c:pt idx="72">
                  <c:v>18368</c:v>
                </c:pt>
                <c:pt idx="73">
                  <c:v>18369</c:v>
                </c:pt>
                <c:pt idx="74">
                  <c:v>18372</c:v>
                </c:pt>
                <c:pt idx="75">
                  <c:v>18373</c:v>
                </c:pt>
                <c:pt idx="76">
                  <c:v>18374</c:v>
                </c:pt>
                <c:pt idx="77">
                  <c:v>18375</c:v>
                </c:pt>
                <c:pt idx="78">
                  <c:v>18376</c:v>
                </c:pt>
                <c:pt idx="79">
                  <c:v>18379</c:v>
                </c:pt>
                <c:pt idx="80">
                  <c:v>18380</c:v>
                </c:pt>
                <c:pt idx="81">
                  <c:v>18381</c:v>
                </c:pt>
                <c:pt idx="82">
                  <c:v>18382</c:v>
                </c:pt>
                <c:pt idx="83">
                  <c:v>18383</c:v>
                </c:pt>
                <c:pt idx="84">
                  <c:v>18386</c:v>
                </c:pt>
                <c:pt idx="85">
                  <c:v>18387</c:v>
                </c:pt>
                <c:pt idx="86">
                  <c:v>18388</c:v>
                </c:pt>
                <c:pt idx="87">
                  <c:v>18389</c:v>
                </c:pt>
                <c:pt idx="88">
                  <c:v>18390</c:v>
                </c:pt>
                <c:pt idx="89">
                  <c:v>18393</c:v>
                </c:pt>
                <c:pt idx="90">
                  <c:v>18394</c:v>
                </c:pt>
                <c:pt idx="91">
                  <c:v>18395</c:v>
                </c:pt>
                <c:pt idx="92">
                  <c:v>18396</c:v>
                </c:pt>
                <c:pt idx="93">
                  <c:v>18397</c:v>
                </c:pt>
                <c:pt idx="94">
                  <c:v>18400</c:v>
                </c:pt>
                <c:pt idx="95">
                  <c:v>18401</c:v>
                </c:pt>
                <c:pt idx="96">
                  <c:v>18402</c:v>
                </c:pt>
                <c:pt idx="97">
                  <c:v>18403</c:v>
                </c:pt>
                <c:pt idx="98">
                  <c:v>18404</c:v>
                </c:pt>
                <c:pt idx="99">
                  <c:v>18408</c:v>
                </c:pt>
                <c:pt idx="100">
                  <c:v>18409</c:v>
                </c:pt>
                <c:pt idx="101">
                  <c:v>18410</c:v>
                </c:pt>
                <c:pt idx="102">
                  <c:v>18411</c:v>
                </c:pt>
                <c:pt idx="103">
                  <c:v>18414</c:v>
                </c:pt>
                <c:pt idx="104">
                  <c:v>18415</c:v>
                </c:pt>
                <c:pt idx="105">
                  <c:v>18416</c:v>
                </c:pt>
                <c:pt idx="106">
                  <c:v>18417</c:v>
                </c:pt>
                <c:pt idx="107">
                  <c:v>18418</c:v>
                </c:pt>
                <c:pt idx="108">
                  <c:v>18421</c:v>
                </c:pt>
                <c:pt idx="109">
                  <c:v>18422</c:v>
                </c:pt>
                <c:pt idx="110">
                  <c:v>18423</c:v>
                </c:pt>
                <c:pt idx="111">
                  <c:v>18424</c:v>
                </c:pt>
                <c:pt idx="112">
                  <c:v>18425</c:v>
                </c:pt>
                <c:pt idx="113">
                  <c:v>18428</c:v>
                </c:pt>
                <c:pt idx="114">
                  <c:v>18429</c:v>
                </c:pt>
                <c:pt idx="115">
                  <c:v>18430</c:v>
                </c:pt>
                <c:pt idx="116">
                  <c:v>18431</c:v>
                </c:pt>
                <c:pt idx="117">
                  <c:v>18432</c:v>
                </c:pt>
                <c:pt idx="118">
                  <c:v>18435</c:v>
                </c:pt>
                <c:pt idx="119">
                  <c:v>18436</c:v>
                </c:pt>
                <c:pt idx="120">
                  <c:v>18437</c:v>
                </c:pt>
                <c:pt idx="121">
                  <c:v>18438</c:v>
                </c:pt>
                <c:pt idx="122">
                  <c:v>18439</c:v>
                </c:pt>
                <c:pt idx="123">
                  <c:v>18442</c:v>
                </c:pt>
                <c:pt idx="124">
                  <c:v>18443</c:v>
                </c:pt>
                <c:pt idx="125">
                  <c:v>18444</c:v>
                </c:pt>
                <c:pt idx="126">
                  <c:v>18445</c:v>
                </c:pt>
                <c:pt idx="127">
                  <c:v>18449</c:v>
                </c:pt>
                <c:pt idx="128">
                  <c:v>18450</c:v>
                </c:pt>
                <c:pt idx="129">
                  <c:v>18451</c:v>
                </c:pt>
                <c:pt idx="130">
                  <c:v>18452</c:v>
                </c:pt>
                <c:pt idx="131">
                  <c:v>18453</c:v>
                </c:pt>
                <c:pt idx="132">
                  <c:v>18456</c:v>
                </c:pt>
                <c:pt idx="133">
                  <c:v>18457</c:v>
                </c:pt>
                <c:pt idx="134">
                  <c:v>18458</c:v>
                </c:pt>
                <c:pt idx="135">
                  <c:v>18459</c:v>
                </c:pt>
                <c:pt idx="136">
                  <c:v>18460</c:v>
                </c:pt>
                <c:pt idx="137">
                  <c:v>18463</c:v>
                </c:pt>
                <c:pt idx="138">
                  <c:v>18464</c:v>
                </c:pt>
                <c:pt idx="139">
                  <c:v>18465</c:v>
                </c:pt>
                <c:pt idx="140">
                  <c:v>18466</c:v>
                </c:pt>
                <c:pt idx="141">
                  <c:v>18467</c:v>
                </c:pt>
                <c:pt idx="142">
                  <c:v>18470</c:v>
                </c:pt>
                <c:pt idx="143">
                  <c:v>18471</c:v>
                </c:pt>
                <c:pt idx="144">
                  <c:v>18472</c:v>
                </c:pt>
                <c:pt idx="145">
                  <c:v>18473</c:v>
                </c:pt>
                <c:pt idx="146">
                  <c:v>18474</c:v>
                </c:pt>
                <c:pt idx="147">
                  <c:v>18477</c:v>
                </c:pt>
                <c:pt idx="148">
                  <c:v>18478</c:v>
                </c:pt>
                <c:pt idx="149">
                  <c:v>18479</c:v>
                </c:pt>
                <c:pt idx="150">
                  <c:v>18480</c:v>
                </c:pt>
                <c:pt idx="151">
                  <c:v>18481</c:v>
                </c:pt>
                <c:pt idx="152">
                  <c:v>18484</c:v>
                </c:pt>
                <c:pt idx="153">
                  <c:v>18485</c:v>
                </c:pt>
                <c:pt idx="154">
                  <c:v>18486</c:v>
                </c:pt>
                <c:pt idx="155">
                  <c:v>18487</c:v>
                </c:pt>
                <c:pt idx="156">
                  <c:v>18488</c:v>
                </c:pt>
                <c:pt idx="157">
                  <c:v>18491</c:v>
                </c:pt>
                <c:pt idx="158">
                  <c:v>18492</c:v>
                </c:pt>
                <c:pt idx="159">
                  <c:v>18493</c:v>
                </c:pt>
                <c:pt idx="160">
                  <c:v>18494</c:v>
                </c:pt>
                <c:pt idx="161">
                  <c:v>18495</c:v>
                </c:pt>
                <c:pt idx="162">
                  <c:v>18498</c:v>
                </c:pt>
                <c:pt idx="163">
                  <c:v>18499</c:v>
                </c:pt>
                <c:pt idx="164">
                  <c:v>18500</c:v>
                </c:pt>
                <c:pt idx="165">
                  <c:v>18501</c:v>
                </c:pt>
                <c:pt idx="166">
                  <c:v>18502</c:v>
                </c:pt>
                <c:pt idx="167">
                  <c:v>18505</c:v>
                </c:pt>
                <c:pt idx="168">
                  <c:v>18506</c:v>
                </c:pt>
                <c:pt idx="169">
                  <c:v>18507</c:v>
                </c:pt>
                <c:pt idx="170">
                  <c:v>18508</c:v>
                </c:pt>
                <c:pt idx="171">
                  <c:v>18509</c:v>
                </c:pt>
                <c:pt idx="172">
                  <c:v>18513</c:v>
                </c:pt>
                <c:pt idx="173">
                  <c:v>18514</c:v>
                </c:pt>
                <c:pt idx="174">
                  <c:v>18515</c:v>
                </c:pt>
                <c:pt idx="175">
                  <c:v>18516</c:v>
                </c:pt>
                <c:pt idx="176">
                  <c:v>18519</c:v>
                </c:pt>
                <c:pt idx="177">
                  <c:v>18520</c:v>
                </c:pt>
                <c:pt idx="178">
                  <c:v>18521</c:v>
                </c:pt>
                <c:pt idx="179">
                  <c:v>18522</c:v>
                </c:pt>
                <c:pt idx="180">
                  <c:v>18523</c:v>
                </c:pt>
                <c:pt idx="181">
                  <c:v>18526</c:v>
                </c:pt>
                <c:pt idx="182">
                  <c:v>18527</c:v>
                </c:pt>
                <c:pt idx="183">
                  <c:v>18528</c:v>
                </c:pt>
                <c:pt idx="184">
                  <c:v>18529</c:v>
                </c:pt>
                <c:pt idx="185">
                  <c:v>18530</c:v>
                </c:pt>
                <c:pt idx="186">
                  <c:v>18533</c:v>
                </c:pt>
                <c:pt idx="187">
                  <c:v>18534</c:v>
                </c:pt>
                <c:pt idx="188">
                  <c:v>18535</c:v>
                </c:pt>
                <c:pt idx="189">
                  <c:v>18536</c:v>
                </c:pt>
                <c:pt idx="190">
                  <c:v>18537</c:v>
                </c:pt>
                <c:pt idx="191">
                  <c:v>18540</c:v>
                </c:pt>
                <c:pt idx="192">
                  <c:v>18541</c:v>
                </c:pt>
                <c:pt idx="193">
                  <c:v>18542</c:v>
                </c:pt>
                <c:pt idx="194">
                  <c:v>18543</c:v>
                </c:pt>
                <c:pt idx="195">
                  <c:v>18544</c:v>
                </c:pt>
                <c:pt idx="196">
                  <c:v>18547</c:v>
                </c:pt>
                <c:pt idx="197">
                  <c:v>18548</c:v>
                </c:pt>
                <c:pt idx="198">
                  <c:v>18549</c:v>
                </c:pt>
                <c:pt idx="199">
                  <c:v>18550</c:v>
                </c:pt>
                <c:pt idx="200">
                  <c:v>18551</c:v>
                </c:pt>
                <c:pt idx="201">
                  <c:v>18554</c:v>
                </c:pt>
                <c:pt idx="202">
                  <c:v>18555</c:v>
                </c:pt>
                <c:pt idx="203">
                  <c:v>18556</c:v>
                </c:pt>
                <c:pt idx="204">
                  <c:v>18557</c:v>
                </c:pt>
                <c:pt idx="205">
                  <c:v>18558</c:v>
                </c:pt>
                <c:pt idx="206">
                  <c:v>18561</c:v>
                </c:pt>
                <c:pt idx="207">
                  <c:v>18562</c:v>
                </c:pt>
                <c:pt idx="208">
                  <c:v>18563</c:v>
                </c:pt>
                <c:pt idx="209">
                  <c:v>18564</c:v>
                </c:pt>
                <c:pt idx="210">
                  <c:v>18565</c:v>
                </c:pt>
                <c:pt idx="211">
                  <c:v>18568</c:v>
                </c:pt>
                <c:pt idx="212">
                  <c:v>18569</c:v>
                </c:pt>
                <c:pt idx="213">
                  <c:v>18570</c:v>
                </c:pt>
                <c:pt idx="214">
                  <c:v>18571</c:v>
                </c:pt>
                <c:pt idx="215">
                  <c:v>18572</c:v>
                </c:pt>
                <c:pt idx="216">
                  <c:v>18575</c:v>
                </c:pt>
                <c:pt idx="217">
                  <c:v>18576</c:v>
                </c:pt>
                <c:pt idx="218">
                  <c:v>18577</c:v>
                </c:pt>
                <c:pt idx="219">
                  <c:v>18578</c:v>
                </c:pt>
                <c:pt idx="220">
                  <c:v>18579</c:v>
                </c:pt>
                <c:pt idx="221">
                  <c:v>18582</c:v>
                </c:pt>
                <c:pt idx="222">
                  <c:v>18583</c:v>
                </c:pt>
                <c:pt idx="223">
                  <c:v>18584</c:v>
                </c:pt>
                <c:pt idx="224">
                  <c:v>18585</c:v>
                </c:pt>
                <c:pt idx="225">
                  <c:v>18586</c:v>
                </c:pt>
                <c:pt idx="226">
                  <c:v>18589</c:v>
                </c:pt>
                <c:pt idx="227">
                  <c:v>18590</c:v>
                </c:pt>
                <c:pt idx="228">
                  <c:v>18591</c:v>
                </c:pt>
                <c:pt idx="229">
                  <c:v>18593</c:v>
                </c:pt>
                <c:pt idx="230">
                  <c:v>18596</c:v>
                </c:pt>
                <c:pt idx="231">
                  <c:v>18597</c:v>
                </c:pt>
                <c:pt idx="232">
                  <c:v>18598</c:v>
                </c:pt>
                <c:pt idx="233">
                  <c:v>18599</c:v>
                </c:pt>
                <c:pt idx="234">
                  <c:v>18600</c:v>
                </c:pt>
                <c:pt idx="235">
                  <c:v>18603</c:v>
                </c:pt>
                <c:pt idx="236">
                  <c:v>18604</c:v>
                </c:pt>
                <c:pt idx="237">
                  <c:v>18605</c:v>
                </c:pt>
                <c:pt idx="238">
                  <c:v>18606</c:v>
                </c:pt>
                <c:pt idx="239">
                  <c:v>18607</c:v>
                </c:pt>
                <c:pt idx="240">
                  <c:v>18610</c:v>
                </c:pt>
                <c:pt idx="241">
                  <c:v>18611</c:v>
                </c:pt>
                <c:pt idx="242">
                  <c:v>18612</c:v>
                </c:pt>
                <c:pt idx="243">
                  <c:v>18613</c:v>
                </c:pt>
                <c:pt idx="244">
                  <c:v>18614</c:v>
                </c:pt>
                <c:pt idx="245">
                  <c:v>18617</c:v>
                </c:pt>
                <c:pt idx="246">
                  <c:v>18618</c:v>
                </c:pt>
                <c:pt idx="247">
                  <c:v>18619</c:v>
                </c:pt>
                <c:pt idx="248">
                  <c:v>18620</c:v>
                </c:pt>
                <c:pt idx="249">
                  <c:v>18624</c:v>
                </c:pt>
                <c:pt idx="250">
                  <c:v>18625</c:v>
                </c:pt>
                <c:pt idx="251">
                  <c:v>18626</c:v>
                </c:pt>
                <c:pt idx="252">
                  <c:v>18627</c:v>
                </c:pt>
                <c:pt idx="253">
                  <c:v>18631</c:v>
                </c:pt>
                <c:pt idx="254">
                  <c:v>18632</c:v>
                </c:pt>
                <c:pt idx="255">
                  <c:v>18633</c:v>
                </c:pt>
                <c:pt idx="256">
                  <c:v>18634</c:v>
                </c:pt>
                <c:pt idx="257">
                  <c:v>18635</c:v>
                </c:pt>
                <c:pt idx="258">
                  <c:v>18638</c:v>
                </c:pt>
                <c:pt idx="259">
                  <c:v>18639</c:v>
                </c:pt>
                <c:pt idx="260">
                  <c:v>18640</c:v>
                </c:pt>
                <c:pt idx="261">
                  <c:v>18641</c:v>
                </c:pt>
                <c:pt idx="262">
                  <c:v>18642</c:v>
                </c:pt>
                <c:pt idx="263">
                  <c:v>18646</c:v>
                </c:pt>
                <c:pt idx="264">
                  <c:v>18647</c:v>
                </c:pt>
                <c:pt idx="265">
                  <c:v>18648</c:v>
                </c:pt>
                <c:pt idx="266">
                  <c:v>18649</c:v>
                </c:pt>
                <c:pt idx="267">
                  <c:v>18652</c:v>
                </c:pt>
                <c:pt idx="268">
                  <c:v>18653</c:v>
                </c:pt>
                <c:pt idx="269">
                  <c:v>18654</c:v>
                </c:pt>
                <c:pt idx="270">
                  <c:v>18655</c:v>
                </c:pt>
                <c:pt idx="271">
                  <c:v>18656</c:v>
                </c:pt>
                <c:pt idx="272">
                  <c:v>18659</c:v>
                </c:pt>
                <c:pt idx="273">
                  <c:v>18660</c:v>
                </c:pt>
                <c:pt idx="274">
                  <c:v>18661</c:v>
                </c:pt>
                <c:pt idx="275">
                  <c:v>18662</c:v>
                </c:pt>
                <c:pt idx="276">
                  <c:v>18663</c:v>
                </c:pt>
                <c:pt idx="277">
                  <c:v>18666</c:v>
                </c:pt>
                <c:pt idx="278">
                  <c:v>18667</c:v>
                </c:pt>
                <c:pt idx="279">
                  <c:v>18668</c:v>
                </c:pt>
                <c:pt idx="280">
                  <c:v>18669</c:v>
                </c:pt>
                <c:pt idx="281">
                  <c:v>18670</c:v>
                </c:pt>
                <c:pt idx="282">
                  <c:v>18674</c:v>
                </c:pt>
                <c:pt idx="283">
                  <c:v>18675</c:v>
                </c:pt>
                <c:pt idx="284">
                  <c:v>18676</c:v>
                </c:pt>
                <c:pt idx="285">
                  <c:v>18677</c:v>
                </c:pt>
                <c:pt idx="286">
                  <c:v>18680</c:v>
                </c:pt>
                <c:pt idx="287">
                  <c:v>18681</c:v>
                </c:pt>
                <c:pt idx="288">
                  <c:v>18682</c:v>
                </c:pt>
                <c:pt idx="289">
                  <c:v>18683</c:v>
                </c:pt>
                <c:pt idx="290">
                  <c:v>18684</c:v>
                </c:pt>
                <c:pt idx="291">
                  <c:v>18687</c:v>
                </c:pt>
                <c:pt idx="292">
                  <c:v>18688</c:v>
                </c:pt>
                <c:pt idx="293">
                  <c:v>18689</c:v>
                </c:pt>
                <c:pt idx="294">
                  <c:v>18690</c:v>
                </c:pt>
                <c:pt idx="295">
                  <c:v>18691</c:v>
                </c:pt>
                <c:pt idx="296">
                  <c:v>18694</c:v>
                </c:pt>
                <c:pt idx="297">
                  <c:v>18695</c:v>
                </c:pt>
                <c:pt idx="298">
                  <c:v>18696</c:v>
                </c:pt>
                <c:pt idx="299">
                  <c:v>18697</c:v>
                </c:pt>
                <c:pt idx="300">
                  <c:v>18698</c:v>
                </c:pt>
                <c:pt idx="301">
                  <c:v>18701</c:v>
                </c:pt>
                <c:pt idx="302">
                  <c:v>18702</c:v>
                </c:pt>
                <c:pt idx="303">
                  <c:v>18703</c:v>
                </c:pt>
                <c:pt idx="304">
                  <c:v>18704</c:v>
                </c:pt>
                <c:pt idx="305">
                  <c:v>18705</c:v>
                </c:pt>
                <c:pt idx="306">
                  <c:v>18708</c:v>
                </c:pt>
                <c:pt idx="307">
                  <c:v>18709</c:v>
                </c:pt>
                <c:pt idx="308">
                  <c:v>18710</c:v>
                </c:pt>
                <c:pt idx="309">
                  <c:v>18711</c:v>
                </c:pt>
                <c:pt idx="310">
                  <c:v>18712</c:v>
                </c:pt>
                <c:pt idx="311">
                  <c:v>18715</c:v>
                </c:pt>
                <c:pt idx="312">
                  <c:v>18716</c:v>
                </c:pt>
                <c:pt idx="313">
                  <c:v>18717</c:v>
                </c:pt>
                <c:pt idx="314">
                  <c:v>18718</c:v>
                </c:pt>
                <c:pt idx="315">
                  <c:v>18722</c:v>
                </c:pt>
                <c:pt idx="316">
                  <c:v>18723</c:v>
                </c:pt>
                <c:pt idx="317">
                  <c:v>18724</c:v>
                </c:pt>
                <c:pt idx="318">
                  <c:v>18725</c:v>
                </c:pt>
                <c:pt idx="319">
                  <c:v>18726</c:v>
                </c:pt>
                <c:pt idx="320">
                  <c:v>18729</c:v>
                </c:pt>
                <c:pt idx="321">
                  <c:v>18730</c:v>
                </c:pt>
                <c:pt idx="322">
                  <c:v>18731</c:v>
                </c:pt>
                <c:pt idx="323">
                  <c:v>18732</c:v>
                </c:pt>
                <c:pt idx="324">
                  <c:v>18733</c:v>
                </c:pt>
                <c:pt idx="325">
                  <c:v>18736</c:v>
                </c:pt>
                <c:pt idx="326">
                  <c:v>18737</c:v>
                </c:pt>
                <c:pt idx="327">
                  <c:v>18738</c:v>
                </c:pt>
                <c:pt idx="328">
                  <c:v>18739</c:v>
                </c:pt>
                <c:pt idx="329">
                  <c:v>18740</c:v>
                </c:pt>
                <c:pt idx="330">
                  <c:v>18743</c:v>
                </c:pt>
                <c:pt idx="331">
                  <c:v>18744</c:v>
                </c:pt>
                <c:pt idx="332">
                  <c:v>18745</c:v>
                </c:pt>
                <c:pt idx="333">
                  <c:v>18746</c:v>
                </c:pt>
                <c:pt idx="334">
                  <c:v>18747</c:v>
                </c:pt>
                <c:pt idx="335">
                  <c:v>18750</c:v>
                </c:pt>
                <c:pt idx="336">
                  <c:v>18751</c:v>
                </c:pt>
                <c:pt idx="337">
                  <c:v>18752</c:v>
                </c:pt>
                <c:pt idx="338">
                  <c:v>18753</c:v>
                </c:pt>
                <c:pt idx="339">
                  <c:v>18754</c:v>
                </c:pt>
                <c:pt idx="340">
                  <c:v>18757</c:v>
                </c:pt>
                <c:pt idx="341">
                  <c:v>18758</c:v>
                </c:pt>
                <c:pt idx="342">
                  <c:v>18759</c:v>
                </c:pt>
                <c:pt idx="343">
                  <c:v>18760</c:v>
                </c:pt>
                <c:pt idx="344">
                  <c:v>18761</c:v>
                </c:pt>
                <c:pt idx="345">
                  <c:v>18764</c:v>
                </c:pt>
                <c:pt idx="346">
                  <c:v>18765</c:v>
                </c:pt>
                <c:pt idx="347">
                  <c:v>18766</c:v>
                </c:pt>
                <c:pt idx="348">
                  <c:v>18767</c:v>
                </c:pt>
                <c:pt idx="349">
                  <c:v>18768</c:v>
                </c:pt>
                <c:pt idx="350">
                  <c:v>18771</c:v>
                </c:pt>
                <c:pt idx="351">
                  <c:v>18772</c:v>
                </c:pt>
                <c:pt idx="352">
                  <c:v>18773</c:v>
                </c:pt>
                <c:pt idx="353">
                  <c:v>18774</c:v>
                </c:pt>
                <c:pt idx="354">
                  <c:v>18775</c:v>
                </c:pt>
                <c:pt idx="355">
                  <c:v>18779</c:v>
                </c:pt>
                <c:pt idx="356">
                  <c:v>18780</c:v>
                </c:pt>
                <c:pt idx="357">
                  <c:v>18781</c:v>
                </c:pt>
                <c:pt idx="358">
                  <c:v>18782</c:v>
                </c:pt>
                <c:pt idx="359">
                  <c:v>18785</c:v>
                </c:pt>
                <c:pt idx="360">
                  <c:v>18786</c:v>
                </c:pt>
                <c:pt idx="361">
                  <c:v>18787</c:v>
                </c:pt>
                <c:pt idx="362">
                  <c:v>18788</c:v>
                </c:pt>
                <c:pt idx="363">
                  <c:v>18789</c:v>
                </c:pt>
                <c:pt idx="364">
                  <c:v>18792</c:v>
                </c:pt>
                <c:pt idx="365">
                  <c:v>18793</c:v>
                </c:pt>
                <c:pt idx="366">
                  <c:v>18794</c:v>
                </c:pt>
                <c:pt idx="367">
                  <c:v>18795</c:v>
                </c:pt>
                <c:pt idx="368">
                  <c:v>18796</c:v>
                </c:pt>
                <c:pt idx="369">
                  <c:v>18799</c:v>
                </c:pt>
                <c:pt idx="370">
                  <c:v>18800</c:v>
                </c:pt>
                <c:pt idx="371">
                  <c:v>18801</c:v>
                </c:pt>
                <c:pt idx="372">
                  <c:v>18802</c:v>
                </c:pt>
                <c:pt idx="373">
                  <c:v>18803</c:v>
                </c:pt>
                <c:pt idx="374">
                  <c:v>18806</c:v>
                </c:pt>
                <c:pt idx="375">
                  <c:v>18807</c:v>
                </c:pt>
                <c:pt idx="376">
                  <c:v>18808</c:v>
                </c:pt>
                <c:pt idx="377">
                  <c:v>18809</c:v>
                </c:pt>
                <c:pt idx="378">
                  <c:v>18810</c:v>
                </c:pt>
                <c:pt idx="379">
                  <c:v>18814</c:v>
                </c:pt>
                <c:pt idx="380">
                  <c:v>18815</c:v>
                </c:pt>
                <c:pt idx="381">
                  <c:v>18816</c:v>
                </c:pt>
                <c:pt idx="382">
                  <c:v>18817</c:v>
                </c:pt>
                <c:pt idx="383">
                  <c:v>18820</c:v>
                </c:pt>
                <c:pt idx="384">
                  <c:v>18821</c:v>
                </c:pt>
                <c:pt idx="385">
                  <c:v>18822</c:v>
                </c:pt>
                <c:pt idx="386">
                  <c:v>18823</c:v>
                </c:pt>
                <c:pt idx="387">
                  <c:v>18824</c:v>
                </c:pt>
                <c:pt idx="388">
                  <c:v>18827</c:v>
                </c:pt>
                <c:pt idx="389">
                  <c:v>18828</c:v>
                </c:pt>
                <c:pt idx="390">
                  <c:v>18829</c:v>
                </c:pt>
                <c:pt idx="391">
                  <c:v>18830</c:v>
                </c:pt>
                <c:pt idx="392">
                  <c:v>18831</c:v>
                </c:pt>
                <c:pt idx="393">
                  <c:v>18834</c:v>
                </c:pt>
                <c:pt idx="394">
                  <c:v>18835</c:v>
                </c:pt>
                <c:pt idx="395">
                  <c:v>18836</c:v>
                </c:pt>
                <c:pt idx="396">
                  <c:v>18837</c:v>
                </c:pt>
                <c:pt idx="397">
                  <c:v>18838</c:v>
                </c:pt>
                <c:pt idx="398">
                  <c:v>18841</c:v>
                </c:pt>
                <c:pt idx="399">
                  <c:v>18842</c:v>
                </c:pt>
                <c:pt idx="400">
                  <c:v>18843</c:v>
                </c:pt>
                <c:pt idx="401">
                  <c:v>18844</c:v>
                </c:pt>
                <c:pt idx="402">
                  <c:v>18845</c:v>
                </c:pt>
                <c:pt idx="403">
                  <c:v>18848</c:v>
                </c:pt>
                <c:pt idx="404">
                  <c:v>18849</c:v>
                </c:pt>
                <c:pt idx="405">
                  <c:v>18850</c:v>
                </c:pt>
                <c:pt idx="406">
                  <c:v>18851</c:v>
                </c:pt>
                <c:pt idx="407">
                  <c:v>18852</c:v>
                </c:pt>
                <c:pt idx="408">
                  <c:v>18855</c:v>
                </c:pt>
                <c:pt idx="409">
                  <c:v>18856</c:v>
                </c:pt>
                <c:pt idx="410">
                  <c:v>18857</c:v>
                </c:pt>
                <c:pt idx="411">
                  <c:v>18858</c:v>
                </c:pt>
                <c:pt idx="412">
                  <c:v>18859</c:v>
                </c:pt>
                <c:pt idx="413">
                  <c:v>18862</c:v>
                </c:pt>
                <c:pt idx="414">
                  <c:v>18863</c:v>
                </c:pt>
                <c:pt idx="415">
                  <c:v>18864</c:v>
                </c:pt>
                <c:pt idx="416">
                  <c:v>18865</c:v>
                </c:pt>
                <c:pt idx="417">
                  <c:v>18866</c:v>
                </c:pt>
                <c:pt idx="418">
                  <c:v>18869</c:v>
                </c:pt>
                <c:pt idx="419">
                  <c:v>18870</c:v>
                </c:pt>
                <c:pt idx="420">
                  <c:v>18871</c:v>
                </c:pt>
                <c:pt idx="421">
                  <c:v>18872</c:v>
                </c:pt>
                <c:pt idx="422">
                  <c:v>18873</c:v>
                </c:pt>
                <c:pt idx="423">
                  <c:v>18877</c:v>
                </c:pt>
                <c:pt idx="424">
                  <c:v>18878</c:v>
                </c:pt>
                <c:pt idx="425">
                  <c:v>18879</c:v>
                </c:pt>
                <c:pt idx="426">
                  <c:v>18880</c:v>
                </c:pt>
                <c:pt idx="427">
                  <c:v>18883</c:v>
                </c:pt>
                <c:pt idx="428">
                  <c:v>18884</c:v>
                </c:pt>
                <c:pt idx="429">
                  <c:v>18885</c:v>
                </c:pt>
                <c:pt idx="430">
                  <c:v>18886</c:v>
                </c:pt>
                <c:pt idx="431">
                  <c:v>18887</c:v>
                </c:pt>
                <c:pt idx="432">
                  <c:v>18890</c:v>
                </c:pt>
                <c:pt idx="433">
                  <c:v>18891</c:v>
                </c:pt>
                <c:pt idx="434">
                  <c:v>18892</c:v>
                </c:pt>
                <c:pt idx="435">
                  <c:v>18893</c:v>
                </c:pt>
                <c:pt idx="436">
                  <c:v>18894</c:v>
                </c:pt>
                <c:pt idx="437">
                  <c:v>18897</c:v>
                </c:pt>
                <c:pt idx="438">
                  <c:v>18898</c:v>
                </c:pt>
                <c:pt idx="439">
                  <c:v>18899</c:v>
                </c:pt>
                <c:pt idx="440">
                  <c:v>18900</c:v>
                </c:pt>
                <c:pt idx="441">
                  <c:v>18901</c:v>
                </c:pt>
                <c:pt idx="442">
                  <c:v>18904</c:v>
                </c:pt>
                <c:pt idx="443">
                  <c:v>18905</c:v>
                </c:pt>
                <c:pt idx="444">
                  <c:v>18906</c:v>
                </c:pt>
                <c:pt idx="445">
                  <c:v>18907</c:v>
                </c:pt>
                <c:pt idx="446">
                  <c:v>18908</c:v>
                </c:pt>
                <c:pt idx="447">
                  <c:v>18911</c:v>
                </c:pt>
                <c:pt idx="448">
                  <c:v>18912</c:v>
                </c:pt>
                <c:pt idx="449">
                  <c:v>18913</c:v>
                </c:pt>
                <c:pt idx="450">
                  <c:v>18914</c:v>
                </c:pt>
                <c:pt idx="451">
                  <c:v>18915</c:v>
                </c:pt>
                <c:pt idx="452">
                  <c:v>18918</c:v>
                </c:pt>
                <c:pt idx="453">
                  <c:v>18919</c:v>
                </c:pt>
                <c:pt idx="454">
                  <c:v>18920</c:v>
                </c:pt>
                <c:pt idx="455">
                  <c:v>18921</c:v>
                </c:pt>
                <c:pt idx="456">
                  <c:v>18922</c:v>
                </c:pt>
                <c:pt idx="457">
                  <c:v>18925</c:v>
                </c:pt>
                <c:pt idx="458">
                  <c:v>18926</c:v>
                </c:pt>
                <c:pt idx="459">
                  <c:v>18927</c:v>
                </c:pt>
                <c:pt idx="460">
                  <c:v>18928</c:v>
                </c:pt>
                <c:pt idx="461">
                  <c:v>18929</c:v>
                </c:pt>
                <c:pt idx="462">
                  <c:v>18932</c:v>
                </c:pt>
                <c:pt idx="463">
                  <c:v>18933</c:v>
                </c:pt>
                <c:pt idx="464">
                  <c:v>18934</c:v>
                </c:pt>
                <c:pt idx="465">
                  <c:v>18935</c:v>
                </c:pt>
                <c:pt idx="466">
                  <c:v>18936</c:v>
                </c:pt>
                <c:pt idx="467">
                  <c:v>18939</c:v>
                </c:pt>
                <c:pt idx="468">
                  <c:v>18940</c:v>
                </c:pt>
                <c:pt idx="469">
                  <c:v>18941</c:v>
                </c:pt>
                <c:pt idx="470">
                  <c:v>18942</c:v>
                </c:pt>
                <c:pt idx="471">
                  <c:v>18943</c:v>
                </c:pt>
                <c:pt idx="472">
                  <c:v>18946</c:v>
                </c:pt>
                <c:pt idx="473">
                  <c:v>18947</c:v>
                </c:pt>
                <c:pt idx="474">
                  <c:v>18948</c:v>
                </c:pt>
                <c:pt idx="475">
                  <c:v>18949</c:v>
                </c:pt>
                <c:pt idx="476">
                  <c:v>18950</c:v>
                </c:pt>
                <c:pt idx="477">
                  <c:v>18953</c:v>
                </c:pt>
                <c:pt idx="478">
                  <c:v>18954</c:v>
                </c:pt>
                <c:pt idx="479">
                  <c:v>18955</c:v>
                </c:pt>
                <c:pt idx="480">
                  <c:v>18957</c:v>
                </c:pt>
                <c:pt idx="481">
                  <c:v>18960</c:v>
                </c:pt>
                <c:pt idx="482">
                  <c:v>18961</c:v>
                </c:pt>
                <c:pt idx="483">
                  <c:v>18962</c:v>
                </c:pt>
                <c:pt idx="484">
                  <c:v>18963</c:v>
                </c:pt>
                <c:pt idx="485">
                  <c:v>18964</c:v>
                </c:pt>
                <c:pt idx="486">
                  <c:v>18967</c:v>
                </c:pt>
                <c:pt idx="487">
                  <c:v>18968</c:v>
                </c:pt>
                <c:pt idx="488">
                  <c:v>18969</c:v>
                </c:pt>
                <c:pt idx="489">
                  <c:v>18970</c:v>
                </c:pt>
                <c:pt idx="490">
                  <c:v>18971</c:v>
                </c:pt>
                <c:pt idx="491">
                  <c:v>18974</c:v>
                </c:pt>
                <c:pt idx="492">
                  <c:v>18975</c:v>
                </c:pt>
                <c:pt idx="493">
                  <c:v>18976</c:v>
                </c:pt>
                <c:pt idx="494">
                  <c:v>18977</c:v>
                </c:pt>
                <c:pt idx="495">
                  <c:v>18978</c:v>
                </c:pt>
                <c:pt idx="496">
                  <c:v>18981</c:v>
                </c:pt>
                <c:pt idx="497">
                  <c:v>18982</c:v>
                </c:pt>
                <c:pt idx="498">
                  <c:v>18983</c:v>
                </c:pt>
                <c:pt idx="499">
                  <c:v>18984</c:v>
                </c:pt>
                <c:pt idx="500">
                  <c:v>18988</c:v>
                </c:pt>
                <c:pt idx="501">
                  <c:v>18989</c:v>
                </c:pt>
                <c:pt idx="502">
                  <c:v>18990</c:v>
                </c:pt>
                <c:pt idx="503">
                  <c:v>18991</c:v>
                </c:pt>
                <c:pt idx="504">
                  <c:v>18992</c:v>
                </c:pt>
                <c:pt idx="505">
                  <c:v>18995</c:v>
                </c:pt>
                <c:pt idx="506">
                  <c:v>18996</c:v>
                </c:pt>
                <c:pt idx="507">
                  <c:v>18997</c:v>
                </c:pt>
                <c:pt idx="508">
                  <c:v>18998</c:v>
                </c:pt>
                <c:pt idx="509">
                  <c:v>18999</c:v>
                </c:pt>
                <c:pt idx="510">
                  <c:v>19002</c:v>
                </c:pt>
                <c:pt idx="511">
                  <c:v>19003</c:v>
                </c:pt>
                <c:pt idx="512">
                  <c:v>19004</c:v>
                </c:pt>
                <c:pt idx="513">
                  <c:v>19005</c:v>
                </c:pt>
                <c:pt idx="514">
                  <c:v>19006</c:v>
                </c:pt>
                <c:pt idx="515">
                  <c:v>19010</c:v>
                </c:pt>
                <c:pt idx="516">
                  <c:v>19011</c:v>
                </c:pt>
                <c:pt idx="517">
                  <c:v>19012</c:v>
                </c:pt>
                <c:pt idx="518">
                  <c:v>19013</c:v>
                </c:pt>
                <c:pt idx="519">
                  <c:v>19016</c:v>
                </c:pt>
                <c:pt idx="520">
                  <c:v>19017</c:v>
                </c:pt>
                <c:pt idx="521">
                  <c:v>19018</c:v>
                </c:pt>
                <c:pt idx="522">
                  <c:v>19019</c:v>
                </c:pt>
                <c:pt idx="523">
                  <c:v>19020</c:v>
                </c:pt>
                <c:pt idx="524">
                  <c:v>19023</c:v>
                </c:pt>
                <c:pt idx="525">
                  <c:v>19024</c:v>
                </c:pt>
                <c:pt idx="526">
                  <c:v>19025</c:v>
                </c:pt>
                <c:pt idx="527">
                  <c:v>19026</c:v>
                </c:pt>
                <c:pt idx="528">
                  <c:v>19027</c:v>
                </c:pt>
                <c:pt idx="529">
                  <c:v>19030</c:v>
                </c:pt>
                <c:pt idx="530">
                  <c:v>19031</c:v>
                </c:pt>
                <c:pt idx="531">
                  <c:v>19032</c:v>
                </c:pt>
                <c:pt idx="532">
                  <c:v>19033</c:v>
                </c:pt>
                <c:pt idx="533">
                  <c:v>19034</c:v>
                </c:pt>
                <c:pt idx="534">
                  <c:v>19037</c:v>
                </c:pt>
                <c:pt idx="535">
                  <c:v>19038</c:v>
                </c:pt>
                <c:pt idx="536">
                  <c:v>19039</c:v>
                </c:pt>
                <c:pt idx="537">
                  <c:v>19040</c:v>
                </c:pt>
                <c:pt idx="538">
                  <c:v>19041</c:v>
                </c:pt>
                <c:pt idx="539">
                  <c:v>19045</c:v>
                </c:pt>
                <c:pt idx="540">
                  <c:v>19046</c:v>
                </c:pt>
                <c:pt idx="541">
                  <c:v>19047</c:v>
                </c:pt>
                <c:pt idx="542">
                  <c:v>19048</c:v>
                </c:pt>
                <c:pt idx="543">
                  <c:v>19051</c:v>
                </c:pt>
                <c:pt idx="544">
                  <c:v>19052</c:v>
                </c:pt>
                <c:pt idx="545">
                  <c:v>19053</c:v>
                </c:pt>
                <c:pt idx="546">
                  <c:v>19054</c:v>
                </c:pt>
                <c:pt idx="547">
                  <c:v>19055</c:v>
                </c:pt>
                <c:pt idx="548">
                  <c:v>19058</c:v>
                </c:pt>
                <c:pt idx="549">
                  <c:v>19059</c:v>
                </c:pt>
                <c:pt idx="550">
                  <c:v>19060</c:v>
                </c:pt>
                <c:pt idx="551">
                  <c:v>19061</c:v>
                </c:pt>
                <c:pt idx="552">
                  <c:v>19062</c:v>
                </c:pt>
                <c:pt idx="553">
                  <c:v>19065</c:v>
                </c:pt>
                <c:pt idx="554">
                  <c:v>19066</c:v>
                </c:pt>
                <c:pt idx="555">
                  <c:v>19067</c:v>
                </c:pt>
                <c:pt idx="556">
                  <c:v>19068</c:v>
                </c:pt>
                <c:pt idx="557">
                  <c:v>19069</c:v>
                </c:pt>
                <c:pt idx="558">
                  <c:v>19072</c:v>
                </c:pt>
                <c:pt idx="559">
                  <c:v>19073</c:v>
                </c:pt>
                <c:pt idx="560">
                  <c:v>19074</c:v>
                </c:pt>
                <c:pt idx="561">
                  <c:v>19075</c:v>
                </c:pt>
                <c:pt idx="562">
                  <c:v>19076</c:v>
                </c:pt>
                <c:pt idx="563">
                  <c:v>19079</c:v>
                </c:pt>
                <c:pt idx="564">
                  <c:v>19080</c:v>
                </c:pt>
                <c:pt idx="565">
                  <c:v>19081</c:v>
                </c:pt>
                <c:pt idx="566">
                  <c:v>19082</c:v>
                </c:pt>
                <c:pt idx="567">
                  <c:v>19083</c:v>
                </c:pt>
                <c:pt idx="568">
                  <c:v>19086</c:v>
                </c:pt>
                <c:pt idx="569">
                  <c:v>19087</c:v>
                </c:pt>
                <c:pt idx="570">
                  <c:v>19088</c:v>
                </c:pt>
                <c:pt idx="571">
                  <c:v>19089</c:v>
                </c:pt>
                <c:pt idx="572">
                  <c:v>19090</c:v>
                </c:pt>
                <c:pt idx="573">
                  <c:v>19093</c:v>
                </c:pt>
                <c:pt idx="574">
                  <c:v>19094</c:v>
                </c:pt>
                <c:pt idx="575">
                  <c:v>19095</c:v>
                </c:pt>
                <c:pt idx="576">
                  <c:v>19096</c:v>
                </c:pt>
                <c:pt idx="577">
                  <c:v>19100</c:v>
                </c:pt>
                <c:pt idx="578">
                  <c:v>19101</c:v>
                </c:pt>
                <c:pt idx="579">
                  <c:v>19102</c:v>
                </c:pt>
                <c:pt idx="580">
                  <c:v>19103</c:v>
                </c:pt>
                <c:pt idx="581">
                  <c:v>19104</c:v>
                </c:pt>
                <c:pt idx="582">
                  <c:v>19107</c:v>
                </c:pt>
                <c:pt idx="583">
                  <c:v>19108</c:v>
                </c:pt>
                <c:pt idx="584">
                  <c:v>19109</c:v>
                </c:pt>
                <c:pt idx="585">
                  <c:v>19110</c:v>
                </c:pt>
                <c:pt idx="586">
                  <c:v>19111</c:v>
                </c:pt>
                <c:pt idx="587">
                  <c:v>19114</c:v>
                </c:pt>
                <c:pt idx="588">
                  <c:v>19115</c:v>
                </c:pt>
                <c:pt idx="589">
                  <c:v>19116</c:v>
                </c:pt>
                <c:pt idx="590">
                  <c:v>19117</c:v>
                </c:pt>
                <c:pt idx="591">
                  <c:v>19118</c:v>
                </c:pt>
                <c:pt idx="592">
                  <c:v>19121</c:v>
                </c:pt>
                <c:pt idx="593">
                  <c:v>19122</c:v>
                </c:pt>
                <c:pt idx="594">
                  <c:v>19123</c:v>
                </c:pt>
                <c:pt idx="595">
                  <c:v>19124</c:v>
                </c:pt>
                <c:pt idx="596">
                  <c:v>19125</c:v>
                </c:pt>
                <c:pt idx="597">
                  <c:v>19128</c:v>
                </c:pt>
                <c:pt idx="598">
                  <c:v>19129</c:v>
                </c:pt>
                <c:pt idx="599">
                  <c:v>19130</c:v>
                </c:pt>
                <c:pt idx="600">
                  <c:v>19131</c:v>
                </c:pt>
                <c:pt idx="601">
                  <c:v>19132</c:v>
                </c:pt>
                <c:pt idx="602">
                  <c:v>19135</c:v>
                </c:pt>
                <c:pt idx="603">
                  <c:v>19136</c:v>
                </c:pt>
                <c:pt idx="604">
                  <c:v>19137</c:v>
                </c:pt>
                <c:pt idx="605">
                  <c:v>19138</c:v>
                </c:pt>
                <c:pt idx="606">
                  <c:v>19139</c:v>
                </c:pt>
                <c:pt idx="607">
                  <c:v>19143</c:v>
                </c:pt>
                <c:pt idx="608">
                  <c:v>19144</c:v>
                </c:pt>
                <c:pt idx="609">
                  <c:v>19145</c:v>
                </c:pt>
                <c:pt idx="610">
                  <c:v>19146</c:v>
                </c:pt>
                <c:pt idx="611">
                  <c:v>19149</c:v>
                </c:pt>
                <c:pt idx="612">
                  <c:v>19150</c:v>
                </c:pt>
                <c:pt idx="613">
                  <c:v>19151</c:v>
                </c:pt>
                <c:pt idx="614">
                  <c:v>19152</c:v>
                </c:pt>
                <c:pt idx="615">
                  <c:v>19153</c:v>
                </c:pt>
                <c:pt idx="616">
                  <c:v>19156</c:v>
                </c:pt>
                <c:pt idx="617">
                  <c:v>19157</c:v>
                </c:pt>
                <c:pt idx="618">
                  <c:v>19158</c:v>
                </c:pt>
                <c:pt idx="619">
                  <c:v>19159</c:v>
                </c:pt>
                <c:pt idx="620">
                  <c:v>19160</c:v>
                </c:pt>
                <c:pt idx="621">
                  <c:v>19164</c:v>
                </c:pt>
                <c:pt idx="622">
                  <c:v>19165</c:v>
                </c:pt>
                <c:pt idx="623">
                  <c:v>19166</c:v>
                </c:pt>
                <c:pt idx="624">
                  <c:v>19167</c:v>
                </c:pt>
                <c:pt idx="625">
                  <c:v>19170</c:v>
                </c:pt>
                <c:pt idx="626">
                  <c:v>19171</c:v>
                </c:pt>
                <c:pt idx="627">
                  <c:v>19172</c:v>
                </c:pt>
                <c:pt idx="628">
                  <c:v>19173</c:v>
                </c:pt>
                <c:pt idx="629">
                  <c:v>19174</c:v>
                </c:pt>
                <c:pt idx="630">
                  <c:v>19178</c:v>
                </c:pt>
                <c:pt idx="631">
                  <c:v>19179</c:v>
                </c:pt>
                <c:pt idx="632">
                  <c:v>19180</c:v>
                </c:pt>
                <c:pt idx="633">
                  <c:v>19181</c:v>
                </c:pt>
                <c:pt idx="634">
                  <c:v>19184</c:v>
                </c:pt>
                <c:pt idx="635">
                  <c:v>19185</c:v>
                </c:pt>
                <c:pt idx="636">
                  <c:v>19186</c:v>
                </c:pt>
                <c:pt idx="637">
                  <c:v>19187</c:v>
                </c:pt>
                <c:pt idx="638">
                  <c:v>19188</c:v>
                </c:pt>
                <c:pt idx="639">
                  <c:v>19191</c:v>
                </c:pt>
                <c:pt idx="640">
                  <c:v>19192</c:v>
                </c:pt>
                <c:pt idx="641">
                  <c:v>19193</c:v>
                </c:pt>
                <c:pt idx="642">
                  <c:v>19194</c:v>
                </c:pt>
                <c:pt idx="643">
                  <c:v>19195</c:v>
                </c:pt>
                <c:pt idx="644">
                  <c:v>19198</c:v>
                </c:pt>
                <c:pt idx="645">
                  <c:v>19199</c:v>
                </c:pt>
                <c:pt idx="646">
                  <c:v>19200</c:v>
                </c:pt>
                <c:pt idx="647">
                  <c:v>19201</c:v>
                </c:pt>
                <c:pt idx="648">
                  <c:v>19202</c:v>
                </c:pt>
                <c:pt idx="649">
                  <c:v>19205</c:v>
                </c:pt>
                <c:pt idx="650">
                  <c:v>19206</c:v>
                </c:pt>
                <c:pt idx="651">
                  <c:v>19207</c:v>
                </c:pt>
                <c:pt idx="652">
                  <c:v>19208</c:v>
                </c:pt>
                <c:pt idx="653">
                  <c:v>19209</c:v>
                </c:pt>
                <c:pt idx="654">
                  <c:v>19212</c:v>
                </c:pt>
                <c:pt idx="655">
                  <c:v>19213</c:v>
                </c:pt>
                <c:pt idx="656">
                  <c:v>19214</c:v>
                </c:pt>
                <c:pt idx="657">
                  <c:v>19215</c:v>
                </c:pt>
                <c:pt idx="658">
                  <c:v>19216</c:v>
                </c:pt>
                <c:pt idx="659">
                  <c:v>19219</c:v>
                </c:pt>
                <c:pt idx="660">
                  <c:v>19220</c:v>
                </c:pt>
                <c:pt idx="661">
                  <c:v>19221</c:v>
                </c:pt>
                <c:pt idx="662">
                  <c:v>19222</c:v>
                </c:pt>
                <c:pt idx="663">
                  <c:v>19223</c:v>
                </c:pt>
                <c:pt idx="664">
                  <c:v>19226</c:v>
                </c:pt>
                <c:pt idx="665">
                  <c:v>19227</c:v>
                </c:pt>
                <c:pt idx="666">
                  <c:v>19228</c:v>
                </c:pt>
                <c:pt idx="667">
                  <c:v>19229</c:v>
                </c:pt>
                <c:pt idx="668">
                  <c:v>19230</c:v>
                </c:pt>
              </c:numCache>
            </c:numRef>
          </c:xVal>
          <c:yVal>
            <c:numRef>
              <c:f>Sheet1!$A$3:$YS$3</c:f>
              <c:numCache>
                <c:formatCode>General</c:formatCode>
                <c:ptCount val="669"/>
                <c:pt idx="0">
                  <c:v>1.5774999999999999</c:v>
                </c:pt>
                <c:pt idx="1">
                  <c:v>1.47</c:v>
                </c:pt>
                <c:pt idx="2">
                  <c:v>1.4624999999999999</c:v>
                </c:pt>
                <c:pt idx="3">
                  <c:v>1.38</c:v>
                </c:pt>
                <c:pt idx="4">
                  <c:v>1.43</c:v>
                </c:pt>
                <c:pt idx="5">
                  <c:v>1.3875</c:v>
                </c:pt>
                <c:pt idx="6">
                  <c:v>1.3574999999999999</c:v>
                </c:pt>
                <c:pt idx="7">
                  <c:v>1.3574999999999999</c:v>
                </c:pt>
                <c:pt idx="8">
                  <c:v>1.1775</c:v>
                </c:pt>
                <c:pt idx="9">
                  <c:v>1.1525000000000001</c:v>
                </c:pt>
                <c:pt idx="10">
                  <c:v>1.155</c:v>
                </c:pt>
                <c:pt idx="11">
                  <c:v>1.1875</c:v>
                </c:pt>
                <c:pt idx="12">
                  <c:v>1.1475</c:v>
                </c:pt>
                <c:pt idx="13">
                  <c:v>1.1399999999999999</c:v>
                </c:pt>
                <c:pt idx="14">
                  <c:v>1.155</c:v>
                </c:pt>
                <c:pt idx="15">
                  <c:v>1.08</c:v>
                </c:pt>
                <c:pt idx="16">
                  <c:v>1.07</c:v>
                </c:pt>
                <c:pt idx="17">
                  <c:v>1.0525</c:v>
                </c:pt>
                <c:pt idx="18">
                  <c:v>1.0325</c:v>
                </c:pt>
                <c:pt idx="19">
                  <c:v>0.98250000000000004</c:v>
                </c:pt>
                <c:pt idx="20">
                  <c:v>0.96</c:v>
                </c:pt>
                <c:pt idx="21">
                  <c:v>0.98750000000000004</c:v>
                </c:pt>
                <c:pt idx="22">
                  <c:v>1.0175000000000001</c:v>
                </c:pt>
                <c:pt idx="23">
                  <c:v>1.0449999999999999</c:v>
                </c:pt>
                <c:pt idx="24">
                  <c:v>1.0349999999999999</c:v>
                </c:pt>
                <c:pt idx="25">
                  <c:v>0.95250000000000001</c:v>
                </c:pt>
                <c:pt idx="26">
                  <c:v>0.98499999999999999</c:v>
                </c:pt>
                <c:pt idx="27">
                  <c:v>1.0049999999999999</c:v>
                </c:pt>
                <c:pt idx="28">
                  <c:v>1.0475000000000001</c:v>
                </c:pt>
                <c:pt idx="29">
                  <c:v>1.0275000000000001</c:v>
                </c:pt>
                <c:pt idx="30">
                  <c:v>1.0049999999999999</c:v>
                </c:pt>
                <c:pt idx="31">
                  <c:v>1.0149999999999999</c:v>
                </c:pt>
                <c:pt idx="32">
                  <c:v>1.0375000000000001</c:v>
                </c:pt>
                <c:pt idx="33">
                  <c:v>1.0349999999999999</c:v>
                </c:pt>
                <c:pt idx="34">
                  <c:v>1.01</c:v>
                </c:pt>
                <c:pt idx="35">
                  <c:v>0.92500000000000004</c:v>
                </c:pt>
                <c:pt idx="36">
                  <c:v>0.89</c:v>
                </c:pt>
                <c:pt idx="37">
                  <c:v>0.84750000000000003</c:v>
                </c:pt>
                <c:pt idx="38">
                  <c:v>0.86750000000000005</c:v>
                </c:pt>
                <c:pt idx="39">
                  <c:v>0.9</c:v>
                </c:pt>
                <c:pt idx="40">
                  <c:v>0.95750000000000002</c:v>
                </c:pt>
                <c:pt idx="41">
                  <c:v>0.90749999999999997</c:v>
                </c:pt>
                <c:pt idx="42">
                  <c:v>0.9425</c:v>
                </c:pt>
                <c:pt idx="43">
                  <c:v>0.99</c:v>
                </c:pt>
                <c:pt idx="44">
                  <c:v>0.98</c:v>
                </c:pt>
                <c:pt idx="45">
                  <c:v>0.92500000000000004</c:v>
                </c:pt>
                <c:pt idx="46">
                  <c:v>1.0575000000000001</c:v>
                </c:pt>
                <c:pt idx="47">
                  <c:v>1.0349999999999999</c:v>
                </c:pt>
                <c:pt idx="48">
                  <c:v>0.995</c:v>
                </c:pt>
                <c:pt idx="49">
                  <c:v>1.1475</c:v>
                </c:pt>
                <c:pt idx="50">
                  <c:v>1.0925</c:v>
                </c:pt>
                <c:pt idx="51">
                  <c:v>1.0575000000000001</c:v>
                </c:pt>
                <c:pt idx="52">
                  <c:v>0.9425</c:v>
                </c:pt>
                <c:pt idx="53">
                  <c:v>1.0475000000000001</c:v>
                </c:pt>
                <c:pt idx="54">
                  <c:v>0.94</c:v>
                </c:pt>
                <c:pt idx="55">
                  <c:v>0.95250000000000001</c:v>
                </c:pt>
                <c:pt idx="56">
                  <c:v>1.04</c:v>
                </c:pt>
                <c:pt idx="57">
                  <c:v>1.0425</c:v>
                </c:pt>
                <c:pt idx="58">
                  <c:v>1.1025</c:v>
                </c:pt>
                <c:pt idx="59">
                  <c:v>1.0549999999999999</c:v>
                </c:pt>
                <c:pt idx="60">
                  <c:v>0.91249999999999998</c:v>
                </c:pt>
                <c:pt idx="61">
                  <c:v>0.875</c:v>
                </c:pt>
                <c:pt idx="62">
                  <c:v>0.8125</c:v>
                </c:pt>
                <c:pt idx="63">
                  <c:v>0.71250000000000002</c:v>
                </c:pt>
                <c:pt idx="64">
                  <c:v>0.7</c:v>
                </c:pt>
                <c:pt idx="65">
                  <c:v>0.77249999999999996</c:v>
                </c:pt>
                <c:pt idx="66">
                  <c:v>0.8175</c:v>
                </c:pt>
                <c:pt idx="67">
                  <c:v>0.85250000000000004</c:v>
                </c:pt>
                <c:pt idx="68">
                  <c:v>0.97250000000000003</c:v>
                </c:pt>
                <c:pt idx="69">
                  <c:v>1.1850000000000001</c:v>
                </c:pt>
                <c:pt idx="70">
                  <c:v>1.4875</c:v>
                </c:pt>
                <c:pt idx="71">
                  <c:v>1.3174999999999999</c:v>
                </c:pt>
                <c:pt idx="72">
                  <c:v>1.2575000000000001</c:v>
                </c:pt>
                <c:pt idx="73">
                  <c:v>1.22</c:v>
                </c:pt>
                <c:pt idx="74">
                  <c:v>1.4025000000000001</c:v>
                </c:pt>
                <c:pt idx="75">
                  <c:v>1.1950000000000001</c:v>
                </c:pt>
                <c:pt idx="76">
                  <c:v>1.2224999999999999</c:v>
                </c:pt>
                <c:pt idx="77">
                  <c:v>1.175</c:v>
                </c:pt>
                <c:pt idx="78">
                  <c:v>1.1924999999999999</c:v>
                </c:pt>
                <c:pt idx="79">
                  <c:v>1.4550000000000001</c:v>
                </c:pt>
                <c:pt idx="80">
                  <c:v>1.41</c:v>
                </c:pt>
                <c:pt idx="81">
                  <c:v>1.51</c:v>
                </c:pt>
                <c:pt idx="82">
                  <c:v>1.4325000000000001</c:v>
                </c:pt>
                <c:pt idx="83">
                  <c:v>1.5125</c:v>
                </c:pt>
                <c:pt idx="84">
                  <c:v>1.37</c:v>
                </c:pt>
                <c:pt idx="85">
                  <c:v>1.3474999999999999</c:v>
                </c:pt>
                <c:pt idx="86">
                  <c:v>1.2324999999999999</c:v>
                </c:pt>
                <c:pt idx="87">
                  <c:v>1.2175</c:v>
                </c:pt>
                <c:pt idx="88">
                  <c:v>1.2450000000000001</c:v>
                </c:pt>
                <c:pt idx="89">
                  <c:v>1.19</c:v>
                </c:pt>
                <c:pt idx="90">
                  <c:v>1.135</c:v>
                </c:pt>
                <c:pt idx="91">
                  <c:v>1.0525</c:v>
                </c:pt>
                <c:pt idx="92">
                  <c:v>1.0325</c:v>
                </c:pt>
                <c:pt idx="93">
                  <c:v>1.0549999999999999</c:v>
                </c:pt>
                <c:pt idx="94">
                  <c:v>1.145</c:v>
                </c:pt>
                <c:pt idx="95">
                  <c:v>1.1100000000000001</c:v>
                </c:pt>
                <c:pt idx="96">
                  <c:v>1.1074999999999999</c:v>
                </c:pt>
                <c:pt idx="97">
                  <c:v>1.1100000000000001</c:v>
                </c:pt>
                <c:pt idx="98">
                  <c:v>1.0449999999999999</c:v>
                </c:pt>
                <c:pt idx="99">
                  <c:v>1.105</c:v>
                </c:pt>
                <c:pt idx="100">
                  <c:v>1.1725000000000001</c:v>
                </c:pt>
                <c:pt idx="101">
                  <c:v>1.0825</c:v>
                </c:pt>
                <c:pt idx="102">
                  <c:v>1.0149999999999999</c:v>
                </c:pt>
                <c:pt idx="103">
                  <c:v>1.0325</c:v>
                </c:pt>
                <c:pt idx="104">
                  <c:v>1.0449999999999999</c:v>
                </c:pt>
                <c:pt idx="105">
                  <c:v>1.1100000000000001</c:v>
                </c:pt>
                <c:pt idx="106">
                  <c:v>1.1174999999999999</c:v>
                </c:pt>
                <c:pt idx="107">
                  <c:v>1.0349999999999999</c:v>
                </c:pt>
                <c:pt idx="108">
                  <c:v>1.2524999999999999</c:v>
                </c:pt>
                <c:pt idx="109">
                  <c:v>1.24</c:v>
                </c:pt>
                <c:pt idx="110">
                  <c:v>1.2675000000000001</c:v>
                </c:pt>
                <c:pt idx="111">
                  <c:v>1.0925</c:v>
                </c:pt>
                <c:pt idx="112">
                  <c:v>1.18</c:v>
                </c:pt>
                <c:pt idx="113">
                  <c:v>1.1725000000000001</c:v>
                </c:pt>
                <c:pt idx="114">
                  <c:v>1.1599999999999999</c:v>
                </c:pt>
                <c:pt idx="115">
                  <c:v>1.19</c:v>
                </c:pt>
                <c:pt idx="116">
                  <c:v>1.2375</c:v>
                </c:pt>
                <c:pt idx="117">
                  <c:v>1.22</c:v>
                </c:pt>
                <c:pt idx="118">
                  <c:v>1.2175</c:v>
                </c:pt>
                <c:pt idx="119">
                  <c:v>1.2075</c:v>
                </c:pt>
                <c:pt idx="120">
                  <c:v>1.1025</c:v>
                </c:pt>
                <c:pt idx="121">
                  <c:v>1.115</c:v>
                </c:pt>
                <c:pt idx="122">
                  <c:v>1.0874999999999999</c:v>
                </c:pt>
                <c:pt idx="123">
                  <c:v>1.095</c:v>
                </c:pt>
                <c:pt idx="124">
                  <c:v>1.085</c:v>
                </c:pt>
                <c:pt idx="125">
                  <c:v>1.1100000000000001</c:v>
                </c:pt>
                <c:pt idx="126">
                  <c:v>1.0725</c:v>
                </c:pt>
                <c:pt idx="127">
                  <c:v>1.06</c:v>
                </c:pt>
                <c:pt idx="128">
                  <c:v>1.0225</c:v>
                </c:pt>
                <c:pt idx="129">
                  <c:v>1.0649999999999999</c:v>
                </c:pt>
                <c:pt idx="130">
                  <c:v>1.0525</c:v>
                </c:pt>
                <c:pt idx="131">
                  <c:v>1.085</c:v>
                </c:pt>
                <c:pt idx="132">
                  <c:v>1.0649999999999999</c:v>
                </c:pt>
                <c:pt idx="133">
                  <c:v>1.02</c:v>
                </c:pt>
                <c:pt idx="134">
                  <c:v>1.0475000000000001</c:v>
                </c:pt>
                <c:pt idx="135">
                  <c:v>1.0425</c:v>
                </c:pt>
                <c:pt idx="136">
                  <c:v>0.99</c:v>
                </c:pt>
                <c:pt idx="137">
                  <c:v>0.96250000000000002</c:v>
                </c:pt>
                <c:pt idx="138">
                  <c:v>1.0024999999999999</c:v>
                </c:pt>
                <c:pt idx="139">
                  <c:v>1.0275000000000001</c:v>
                </c:pt>
                <c:pt idx="140">
                  <c:v>1.0275000000000001</c:v>
                </c:pt>
                <c:pt idx="141">
                  <c:v>1.0075000000000001</c:v>
                </c:pt>
                <c:pt idx="142">
                  <c:v>1.0024999999999999</c:v>
                </c:pt>
                <c:pt idx="143">
                  <c:v>0.98499999999999999</c:v>
                </c:pt>
                <c:pt idx="144">
                  <c:v>1.0149999999999999</c:v>
                </c:pt>
                <c:pt idx="145">
                  <c:v>1.0249999999999999</c:v>
                </c:pt>
                <c:pt idx="146">
                  <c:v>1.0024999999999999</c:v>
                </c:pt>
                <c:pt idx="147">
                  <c:v>1.0375000000000001</c:v>
                </c:pt>
                <c:pt idx="148">
                  <c:v>1.1074999999999999</c:v>
                </c:pt>
                <c:pt idx="149">
                  <c:v>1.1575</c:v>
                </c:pt>
                <c:pt idx="150">
                  <c:v>1.1074999999999999</c:v>
                </c:pt>
                <c:pt idx="151">
                  <c:v>1.04</c:v>
                </c:pt>
                <c:pt idx="152">
                  <c:v>1.0825</c:v>
                </c:pt>
                <c:pt idx="153">
                  <c:v>1.0874999999999999</c:v>
                </c:pt>
                <c:pt idx="154">
                  <c:v>1.1299999999999999</c:v>
                </c:pt>
                <c:pt idx="155">
                  <c:v>1.1599999999999999</c:v>
                </c:pt>
                <c:pt idx="156">
                  <c:v>1.1875</c:v>
                </c:pt>
                <c:pt idx="157">
                  <c:v>1.1575</c:v>
                </c:pt>
                <c:pt idx="158">
                  <c:v>1.2024999999999999</c:v>
                </c:pt>
                <c:pt idx="159">
                  <c:v>1.18</c:v>
                </c:pt>
                <c:pt idx="160">
                  <c:v>1.1525000000000001</c:v>
                </c:pt>
                <c:pt idx="161">
                  <c:v>1.2575000000000001</c:v>
                </c:pt>
                <c:pt idx="162">
                  <c:v>1.2175</c:v>
                </c:pt>
                <c:pt idx="163">
                  <c:v>1.2450000000000001</c:v>
                </c:pt>
                <c:pt idx="164">
                  <c:v>1.2775000000000001</c:v>
                </c:pt>
                <c:pt idx="165">
                  <c:v>1.3125</c:v>
                </c:pt>
                <c:pt idx="166">
                  <c:v>1.3474999999999999</c:v>
                </c:pt>
                <c:pt idx="167">
                  <c:v>1.67</c:v>
                </c:pt>
                <c:pt idx="168">
                  <c:v>1.9125000000000001</c:v>
                </c:pt>
                <c:pt idx="169">
                  <c:v>1.9275</c:v>
                </c:pt>
                <c:pt idx="170">
                  <c:v>1.9550000000000001</c:v>
                </c:pt>
                <c:pt idx="171">
                  <c:v>1.9125000000000001</c:v>
                </c:pt>
                <c:pt idx="172">
                  <c:v>1.925</c:v>
                </c:pt>
                <c:pt idx="173">
                  <c:v>1.8374999999999999</c:v>
                </c:pt>
                <c:pt idx="174">
                  <c:v>1.5575000000000001</c:v>
                </c:pt>
                <c:pt idx="175">
                  <c:v>1.5225</c:v>
                </c:pt>
                <c:pt idx="176">
                  <c:v>1.7275</c:v>
                </c:pt>
                <c:pt idx="177">
                  <c:v>1.7725</c:v>
                </c:pt>
                <c:pt idx="178">
                  <c:v>2.17</c:v>
                </c:pt>
                <c:pt idx="179">
                  <c:v>2.2999999999999998</c:v>
                </c:pt>
                <c:pt idx="180">
                  <c:v>2.3675000000000002</c:v>
                </c:pt>
                <c:pt idx="181">
                  <c:v>2.1875</c:v>
                </c:pt>
                <c:pt idx="182">
                  <c:v>2.64</c:v>
                </c:pt>
                <c:pt idx="183">
                  <c:v>2.5099999999999998</c:v>
                </c:pt>
                <c:pt idx="184">
                  <c:v>2.2850000000000001</c:v>
                </c:pt>
                <c:pt idx="185">
                  <c:v>2.5049999999999999</c:v>
                </c:pt>
                <c:pt idx="186">
                  <c:v>2.5225</c:v>
                </c:pt>
                <c:pt idx="187">
                  <c:v>2.5874999999999999</c:v>
                </c:pt>
                <c:pt idx="188">
                  <c:v>2.5499999999999998</c:v>
                </c:pt>
                <c:pt idx="189">
                  <c:v>2.4424999999999999</c:v>
                </c:pt>
                <c:pt idx="190">
                  <c:v>2.3475000000000001</c:v>
                </c:pt>
                <c:pt idx="191">
                  <c:v>2.3650000000000002</c:v>
                </c:pt>
                <c:pt idx="192">
                  <c:v>2.2825000000000002</c:v>
                </c:pt>
                <c:pt idx="193">
                  <c:v>2.34</c:v>
                </c:pt>
                <c:pt idx="194">
                  <c:v>3.3725000000000001</c:v>
                </c:pt>
                <c:pt idx="195">
                  <c:v>3.0049999999999999</c:v>
                </c:pt>
                <c:pt idx="196">
                  <c:v>2.95</c:v>
                </c:pt>
                <c:pt idx="197">
                  <c:v>2.97</c:v>
                </c:pt>
                <c:pt idx="198">
                  <c:v>3.0625</c:v>
                </c:pt>
                <c:pt idx="199">
                  <c:v>3.4575</c:v>
                </c:pt>
                <c:pt idx="200">
                  <c:v>3.3275000000000001</c:v>
                </c:pt>
                <c:pt idx="201">
                  <c:v>3.4775</c:v>
                </c:pt>
                <c:pt idx="202">
                  <c:v>3.4649999999999999</c:v>
                </c:pt>
                <c:pt idx="203">
                  <c:v>3.5249999999999999</c:v>
                </c:pt>
                <c:pt idx="204">
                  <c:v>3.7275</c:v>
                </c:pt>
                <c:pt idx="205">
                  <c:v>3.75</c:v>
                </c:pt>
                <c:pt idx="206">
                  <c:v>3.3624999999999998</c:v>
                </c:pt>
                <c:pt idx="207">
                  <c:v>3.1724999999999999</c:v>
                </c:pt>
                <c:pt idx="208">
                  <c:v>2.9550000000000001</c:v>
                </c:pt>
                <c:pt idx="209">
                  <c:v>2.9325000000000001</c:v>
                </c:pt>
                <c:pt idx="210">
                  <c:v>2.6175000000000002</c:v>
                </c:pt>
                <c:pt idx="211">
                  <c:v>2.6875</c:v>
                </c:pt>
                <c:pt idx="212">
                  <c:v>2.8925000000000001</c:v>
                </c:pt>
                <c:pt idx="213">
                  <c:v>2.7275</c:v>
                </c:pt>
                <c:pt idx="214">
                  <c:v>2.8624999999999998</c:v>
                </c:pt>
                <c:pt idx="215">
                  <c:v>2.9649999999999999</c:v>
                </c:pt>
                <c:pt idx="216">
                  <c:v>2.8725000000000001</c:v>
                </c:pt>
                <c:pt idx="217">
                  <c:v>2.7749999999999999</c:v>
                </c:pt>
                <c:pt idx="218">
                  <c:v>2.9375</c:v>
                </c:pt>
                <c:pt idx="219">
                  <c:v>2.7825000000000002</c:v>
                </c:pt>
                <c:pt idx="220">
                  <c:v>2.7524999999999999</c:v>
                </c:pt>
                <c:pt idx="221">
                  <c:v>3.0150000000000001</c:v>
                </c:pt>
                <c:pt idx="222">
                  <c:v>2.9075000000000002</c:v>
                </c:pt>
                <c:pt idx="223">
                  <c:v>2.8925000000000001</c:v>
                </c:pt>
                <c:pt idx="224">
                  <c:v>3.1150000000000002</c:v>
                </c:pt>
                <c:pt idx="225">
                  <c:v>3.1775000000000002</c:v>
                </c:pt>
                <c:pt idx="226">
                  <c:v>3.4750000000000001</c:v>
                </c:pt>
                <c:pt idx="227">
                  <c:v>3.4175</c:v>
                </c:pt>
                <c:pt idx="228">
                  <c:v>3.6875</c:v>
                </c:pt>
                <c:pt idx="229">
                  <c:v>4.0199999999999996</c:v>
                </c:pt>
                <c:pt idx="230">
                  <c:v>4.1399999999999997</c:v>
                </c:pt>
                <c:pt idx="231">
                  <c:v>3.95</c:v>
                </c:pt>
                <c:pt idx="232">
                  <c:v>4.1449999999999996</c:v>
                </c:pt>
                <c:pt idx="233">
                  <c:v>4.03</c:v>
                </c:pt>
                <c:pt idx="234">
                  <c:v>4.2249999999999996</c:v>
                </c:pt>
                <c:pt idx="235">
                  <c:v>4.0875000000000004</c:v>
                </c:pt>
                <c:pt idx="236">
                  <c:v>4.2350000000000003</c:v>
                </c:pt>
                <c:pt idx="237">
                  <c:v>3.415</c:v>
                </c:pt>
                <c:pt idx="238">
                  <c:v>3.53</c:v>
                </c:pt>
                <c:pt idx="239">
                  <c:v>3.3275000000000001</c:v>
                </c:pt>
                <c:pt idx="240">
                  <c:v>3.18</c:v>
                </c:pt>
                <c:pt idx="241">
                  <c:v>3.4624999999999999</c:v>
                </c:pt>
                <c:pt idx="242">
                  <c:v>3.4624999999999999</c:v>
                </c:pt>
                <c:pt idx="243">
                  <c:v>3.7075</c:v>
                </c:pt>
                <c:pt idx="244">
                  <c:v>3.9075000000000002</c:v>
                </c:pt>
                <c:pt idx="245">
                  <c:v>3.8824999999999998</c:v>
                </c:pt>
                <c:pt idx="246">
                  <c:v>4.8650000000000002</c:v>
                </c:pt>
                <c:pt idx="247">
                  <c:v>5.1425000000000001</c:v>
                </c:pt>
                <c:pt idx="248">
                  <c:v>5.0374999999999996</c:v>
                </c:pt>
                <c:pt idx="249">
                  <c:v>5.2474999999999996</c:v>
                </c:pt>
                <c:pt idx="250">
                  <c:v>4.8449999999999998</c:v>
                </c:pt>
                <c:pt idx="251">
                  <c:v>4.8150000000000004</c:v>
                </c:pt>
                <c:pt idx="252">
                  <c:v>4.71</c:v>
                </c:pt>
                <c:pt idx="253">
                  <c:v>4.3125</c:v>
                </c:pt>
                <c:pt idx="254">
                  <c:v>4.3425000000000002</c:v>
                </c:pt>
                <c:pt idx="255">
                  <c:v>4.59</c:v>
                </c:pt>
                <c:pt idx="256">
                  <c:v>4.5199999999999996</c:v>
                </c:pt>
                <c:pt idx="257">
                  <c:v>4.4225000000000003</c:v>
                </c:pt>
                <c:pt idx="258">
                  <c:v>4.9850000000000003</c:v>
                </c:pt>
                <c:pt idx="259">
                  <c:v>4.9874999999999998</c:v>
                </c:pt>
                <c:pt idx="260">
                  <c:v>7.85</c:v>
                </c:pt>
                <c:pt idx="261">
                  <c:v>9.9774999999999991</c:v>
                </c:pt>
                <c:pt idx="262">
                  <c:v>8.875</c:v>
                </c:pt>
                <c:pt idx="263">
                  <c:v>9.84</c:v>
                </c:pt>
                <c:pt idx="264">
                  <c:v>9.7799999999999994</c:v>
                </c:pt>
                <c:pt idx="265">
                  <c:v>10.7575</c:v>
                </c:pt>
                <c:pt idx="266">
                  <c:v>16.252500000000001</c:v>
                </c:pt>
                <c:pt idx="267">
                  <c:v>19.197500000000002</c:v>
                </c:pt>
                <c:pt idx="268">
                  <c:v>36.994999999999997</c:v>
                </c:pt>
                <c:pt idx="269">
                  <c:v>86.877499999999998</c:v>
                </c:pt>
                <c:pt idx="270">
                  <c:v>48.4</c:v>
                </c:pt>
                <c:pt idx="271">
                  <c:v>81.25</c:v>
                </c:pt>
                <c:pt idx="272">
                  <c:v>56.25</c:v>
                </c:pt>
                <c:pt idx="273">
                  <c:v>22.5</c:v>
                </c:pt>
                <c:pt idx="274">
                  <c:v>23.102499999999999</c:v>
                </c:pt>
                <c:pt idx="275">
                  <c:v>13.375</c:v>
                </c:pt>
                <c:pt idx="276">
                  <c:v>15.942500000000001</c:v>
                </c:pt>
                <c:pt idx="277">
                  <c:v>15</c:v>
                </c:pt>
                <c:pt idx="278">
                  <c:v>12.577500000000001</c:v>
                </c:pt>
                <c:pt idx="279">
                  <c:v>12.8</c:v>
                </c:pt>
                <c:pt idx="280">
                  <c:v>12.775</c:v>
                </c:pt>
                <c:pt idx="281">
                  <c:v>13.1</c:v>
                </c:pt>
                <c:pt idx="282">
                  <c:v>12.3775</c:v>
                </c:pt>
                <c:pt idx="283">
                  <c:v>11.484999999999999</c:v>
                </c:pt>
                <c:pt idx="284">
                  <c:v>10.172499999999999</c:v>
                </c:pt>
                <c:pt idx="285">
                  <c:v>10.147500000000001</c:v>
                </c:pt>
                <c:pt idx="286">
                  <c:v>11.5</c:v>
                </c:pt>
                <c:pt idx="287">
                  <c:v>11.2425</c:v>
                </c:pt>
                <c:pt idx="288">
                  <c:v>22.927499999999998</c:v>
                </c:pt>
                <c:pt idx="289">
                  <c:v>27.182500000000001</c:v>
                </c:pt>
                <c:pt idx="290">
                  <c:v>25.434999999999999</c:v>
                </c:pt>
                <c:pt idx="291">
                  <c:v>30.1</c:v>
                </c:pt>
                <c:pt idx="292">
                  <c:v>29.545000000000002</c:v>
                </c:pt>
                <c:pt idx="293">
                  <c:v>31.045000000000002</c:v>
                </c:pt>
                <c:pt idx="294">
                  <c:v>33.087499999999999</c:v>
                </c:pt>
                <c:pt idx="295">
                  <c:v>34.435000000000002</c:v>
                </c:pt>
                <c:pt idx="296">
                  <c:v>48.625</c:v>
                </c:pt>
                <c:pt idx="297">
                  <c:v>61.725000000000001</c:v>
                </c:pt>
                <c:pt idx="298">
                  <c:v>66.25</c:v>
                </c:pt>
                <c:pt idx="299">
                  <c:v>65</c:v>
                </c:pt>
                <c:pt idx="300">
                  <c:v>66.125</c:v>
                </c:pt>
                <c:pt idx="301">
                  <c:v>55.034999999999997</c:v>
                </c:pt>
                <c:pt idx="302">
                  <c:v>52.042499999999997</c:v>
                </c:pt>
                <c:pt idx="303">
                  <c:v>52.452500000000001</c:v>
                </c:pt>
                <c:pt idx="304">
                  <c:v>50.4375</c:v>
                </c:pt>
                <c:pt idx="305">
                  <c:v>50.067500000000003</c:v>
                </c:pt>
                <c:pt idx="306">
                  <c:v>48.622500000000002</c:v>
                </c:pt>
                <c:pt idx="307">
                  <c:v>45.4375</c:v>
                </c:pt>
                <c:pt idx="308">
                  <c:v>30.085000000000001</c:v>
                </c:pt>
                <c:pt idx="309">
                  <c:v>45.9375</c:v>
                </c:pt>
                <c:pt idx="310">
                  <c:v>45.25</c:v>
                </c:pt>
                <c:pt idx="311">
                  <c:v>45.325000000000003</c:v>
                </c:pt>
                <c:pt idx="312">
                  <c:v>48.615000000000002</c:v>
                </c:pt>
                <c:pt idx="313">
                  <c:v>47.454999999999998</c:v>
                </c:pt>
                <c:pt idx="314">
                  <c:v>47.862499999999997</c:v>
                </c:pt>
                <c:pt idx="315">
                  <c:v>46.737499999999997</c:v>
                </c:pt>
                <c:pt idx="316">
                  <c:v>46.125</c:v>
                </c:pt>
                <c:pt idx="317">
                  <c:v>44.4925</c:v>
                </c:pt>
                <c:pt idx="318">
                  <c:v>42.564999999999998</c:v>
                </c:pt>
                <c:pt idx="319">
                  <c:v>39.590000000000003</c:v>
                </c:pt>
                <c:pt idx="320">
                  <c:v>35.272500000000001</c:v>
                </c:pt>
                <c:pt idx="321">
                  <c:v>35.247500000000002</c:v>
                </c:pt>
                <c:pt idx="322">
                  <c:v>41.6325</c:v>
                </c:pt>
                <c:pt idx="323">
                  <c:v>39.11</c:v>
                </c:pt>
                <c:pt idx="324">
                  <c:v>38.672499999999999</c:v>
                </c:pt>
                <c:pt idx="325">
                  <c:v>41.092500000000001</c:v>
                </c:pt>
                <c:pt idx="326">
                  <c:v>39.6325</c:v>
                </c:pt>
                <c:pt idx="327">
                  <c:v>39.627499999999998</c:v>
                </c:pt>
                <c:pt idx="328">
                  <c:v>37.792499999999997</c:v>
                </c:pt>
                <c:pt idx="329">
                  <c:v>37.795000000000002</c:v>
                </c:pt>
                <c:pt idx="330">
                  <c:v>42.232500000000002</c:v>
                </c:pt>
                <c:pt idx="331">
                  <c:v>44.442500000000003</c:v>
                </c:pt>
                <c:pt idx="332">
                  <c:v>44.645000000000003</c:v>
                </c:pt>
                <c:pt idx="333">
                  <c:v>44.047499999999999</c:v>
                </c:pt>
                <c:pt idx="334">
                  <c:v>43.397500000000001</c:v>
                </c:pt>
                <c:pt idx="335">
                  <c:v>40.549999999999997</c:v>
                </c:pt>
                <c:pt idx="336">
                  <c:v>40.182499999999997</c:v>
                </c:pt>
                <c:pt idx="337">
                  <c:v>39.869999999999997</c:v>
                </c:pt>
                <c:pt idx="338">
                  <c:v>40.252499999999998</c:v>
                </c:pt>
                <c:pt idx="339">
                  <c:v>40.277500000000003</c:v>
                </c:pt>
                <c:pt idx="340">
                  <c:v>35.805</c:v>
                </c:pt>
                <c:pt idx="341">
                  <c:v>36.729999999999997</c:v>
                </c:pt>
                <c:pt idx="342">
                  <c:v>36.197499999999998</c:v>
                </c:pt>
                <c:pt idx="343">
                  <c:v>41.125</c:v>
                </c:pt>
                <c:pt idx="344">
                  <c:v>39.979999999999997</c:v>
                </c:pt>
                <c:pt idx="345">
                  <c:v>45.15</c:v>
                </c:pt>
                <c:pt idx="346">
                  <c:v>45.167499999999997</c:v>
                </c:pt>
                <c:pt idx="347">
                  <c:v>42.207500000000003</c:v>
                </c:pt>
                <c:pt idx="348">
                  <c:v>42.622500000000002</c:v>
                </c:pt>
                <c:pt idx="349">
                  <c:v>44.197499999999998</c:v>
                </c:pt>
                <c:pt idx="350">
                  <c:v>45.002499999999998</c:v>
                </c:pt>
                <c:pt idx="351">
                  <c:v>52.357500000000002</c:v>
                </c:pt>
                <c:pt idx="352">
                  <c:v>60.64</c:v>
                </c:pt>
                <c:pt idx="353">
                  <c:v>63.532499999999999</c:v>
                </c:pt>
                <c:pt idx="354">
                  <c:v>55.5</c:v>
                </c:pt>
                <c:pt idx="355">
                  <c:v>62.255000000000003</c:v>
                </c:pt>
                <c:pt idx="356">
                  <c:v>70.56</c:v>
                </c:pt>
                <c:pt idx="357">
                  <c:v>64.545000000000002</c:v>
                </c:pt>
                <c:pt idx="358">
                  <c:v>62.09</c:v>
                </c:pt>
                <c:pt idx="359">
                  <c:v>70.002499999999998</c:v>
                </c:pt>
                <c:pt idx="360">
                  <c:v>75</c:v>
                </c:pt>
                <c:pt idx="361">
                  <c:v>75.64</c:v>
                </c:pt>
                <c:pt idx="362">
                  <c:v>55.097499999999997</c:v>
                </c:pt>
                <c:pt idx="363">
                  <c:v>58.335000000000001</c:v>
                </c:pt>
                <c:pt idx="364">
                  <c:v>57.36</c:v>
                </c:pt>
                <c:pt idx="365">
                  <c:v>55.625</c:v>
                </c:pt>
                <c:pt idx="366">
                  <c:v>55.7425</c:v>
                </c:pt>
                <c:pt idx="367">
                  <c:v>55.897500000000001</c:v>
                </c:pt>
                <c:pt idx="368">
                  <c:v>53.454999999999998</c:v>
                </c:pt>
                <c:pt idx="369">
                  <c:v>50.092500000000001</c:v>
                </c:pt>
                <c:pt idx="370">
                  <c:v>55.1</c:v>
                </c:pt>
                <c:pt idx="371">
                  <c:v>54.835000000000001</c:v>
                </c:pt>
                <c:pt idx="372">
                  <c:v>53.077500000000001</c:v>
                </c:pt>
                <c:pt idx="373">
                  <c:v>52.377499999999998</c:v>
                </c:pt>
                <c:pt idx="374">
                  <c:v>53.3125</c:v>
                </c:pt>
                <c:pt idx="375">
                  <c:v>52.72</c:v>
                </c:pt>
                <c:pt idx="376">
                  <c:v>53.534999999999997</c:v>
                </c:pt>
                <c:pt idx="377">
                  <c:v>51.09</c:v>
                </c:pt>
                <c:pt idx="378">
                  <c:v>50.707500000000003</c:v>
                </c:pt>
                <c:pt idx="379">
                  <c:v>49.89</c:v>
                </c:pt>
                <c:pt idx="380">
                  <c:v>47.664999999999999</c:v>
                </c:pt>
                <c:pt idx="381">
                  <c:v>47.844999999999999</c:v>
                </c:pt>
                <c:pt idx="382">
                  <c:v>47.807499999999997</c:v>
                </c:pt>
                <c:pt idx="383">
                  <c:v>47.3125</c:v>
                </c:pt>
                <c:pt idx="384">
                  <c:v>45.015000000000001</c:v>
                </c:pt>
                <c:pt idx="385">
                  <c:v>41.905000000000001</c:v>
                </c:pt>
                <c:pt idx="386">
                  <c:v>41.704999999999998</c:v>
                </c:pt>
                <c:pt idx="387">
                  <c:v>42.26</c:v>
                </c:pt>
                <c:pt idx="388">
                  <c:v>43.372500000000002</c:v>
                </c:pt>
                <c:pt idx="389">
                  <c:v>47.795000000000002</c:v>
                </c:pt>
                <c:pt idx="390">
                  <c:v>46.452500000000001</c:v>
                </c:pt>
                <c:pt idx="391">
                  <c:v>44.712499999999999</c:v>
                </c:pt>
                <c:pt idx="392">
                  <c:v>45.09</c:v>
                </c:pt>
                <c:pt idx="393">
                  <c:v>45.984999999999999</c:v>
                </c:pt>
                <c:pt idx="394">
                  <c:v>44.634999999999998</c:v>
                </c:pt>
                <c:pt idx="395">
                  <c:v>42.28</c:v>
                </c:pt>
                <c:pt idx="396">
                  <c:v>41.215000000000003</c:v>
                </c:pt>
                <c:pt idx="397">
                  <c:v>40.28</c:v>
                </c:pt>
                <c:pt idx="398">
                  <c:v>39.412500000000001</c:v>
                </c:pt>
                <c:pt idx="399">
                  <c:v>38.1875</c:v>
                </c:pt>
                <c:pt idx="400">
                  <c:v>36.700000000000003</c:v>
                </c:pt>
                <c:pt idx="401">
                  <c:v>38.36</c:v>
                </c:pt>
                <c:pt idx="402">
                  <c:v>37.942500000000003</c:v>
                </c:pt>
                <c:pt idx="403">
                  <c:v>40.282499999999999</c:v>
                </c:pt>
                <c:pt idx="404">
                  <c:v>39.762500000000003</c:v>
                </c:pt>
                <c:pt idx="405">
                  <c:v>39.695</c:v>
                </c:pt>
                <c:pt idx="406">
                  <c:v>40.587499999999999</c:v>
                </c:pt>
                <c:pt idx="407">
                  <c:v>40.630000000000003</c:v>
                </c:pt>
                <c:pt idx="408">
                  <c:v>40.982500000000002</c:v>
                </c:pt>
                <c:pt idx="409">
                  <c:v>40.887500000000003</c:v>
                </c:pt>
                <c:pt idx="410">
                  <c:v>39.262500000000003</c:v>
                </c:pt>
                <c:pt idx="411">
                  <c:v>38.225000000000001</c:v>
                </c:pt>
                <c:pt idx="412">
                  <c:v>39.825000000000003</c:v>
                </c:pt>
                <c:pt idx="413">
                  <c:v>41.222499999999997</c:v>
                </c:pt>
                <c:pt idx="414">
                  <c:v>52.572499999999998</c:v>
                </c:pt>
                <c:pt idx="415">
                  <c:v>49.912500000000001</c:v>
                </c:pt>
                <c:pt idx="416">
                  <c:v>51.305</c:v>
                </c:pt>
                <c:pt idx="417">
                  <c:v>51.237499999999997</c:v>
                </c:pt>
                <c:pt idx="418">
                  <c:v>52.3</c:v>
                </c:pt>
                <c:pt idx="419">
                  <c:v>54.56</c:v>
                </c:pt>
                <c:pt idx="420">
                  <c:v>53.2425</c:v>
                </c:pt>
                <c:pt idx="421">
                  <c:v>53.38</c:v>
                </c:pt>
                <c:pt idx="422">
                  <c:v>50.6875</c:v>
                </c:pt>
                <c:pt idx="423">
                  <c:v>49.75</c:v>
                </c:pt>
                <c:pt idx="424">
                  <c:v>49.7</c:v>
                </c:pt>
                <c:pt idx="425">
                  <c:v>49.795000000000002</c:v>
                </c:pt>
                <c:pt idx="426">
                  <c:v>47.602499999999999</c:v>
                </c:pt>
                <c:pt idx="427">
                  <c:v>50.85</c:v>
                </c:pt>
                <c:pt idx="428">
                  <c:v>49.81</c:v>
                </c:pt>
                <c:pt idx="429">
                  <c:v>51.13</c:v>
                </c:pt>
                <c:pt idx="430">
                  <c:v>51.592500000000001</c:v>
                </c:pt>
                <c:pt idx="431">
                  <c:v>51.2425</c:v>
                </c:pt>
                <c:pt idx="432">
                  <c:v>48.05</c:v>
                </c:pt>
                <c:pt idx="433">
                  <c:v>47.487499999999997</c:v>
                </c:pt>
                <c:pt idx="434">
                  <c:v>47.534999999999997</c:v>
                </c:pt>
                <c:pt idx="435">
                  <c:v>47.81</c:v>
                </c:pt>
                <c:pt idx="436">
                  <c:v>46.29</c:v>
                </c:pt>
                <c:pt idx="437">
                  <c:v>47.37</c:v>
                </c:pt>
                <c:pt idx="438">
                  <c:v>44.65</c:v>
                </c:pt>
                <c:pt idx="439">
                  <c:v>43.98</c:v>
                </c:pt>
                <c:pt idx="440">
                  <c:v>43.8675</c:v>
                </c:pt>
                <c:pt idx="441">
                  <c:v>44.227499999999999</c:v>
                </c:pt>
                <c:pt idx="442">
                  <c:v>42.84</c:v>
                </c:pt>
                <c:pt idx="443">
                  <c:v>43.045000000000002</c:v>
                </c:pt>
                <c:pt idx="444">
                  <c:v>42.767499999999998</c:v>
                </c:pt>
                <c:pt idx="445">
                  <c:v>43.03</c:v>
                </c:pt>
                <c:pt idx="446">
                  <c:v>43.17</c:v>
                </c:pt>
                <c:pt idx="447">
                  <c:v>44.524999999999999</c:v>
                </c:pt>
                <c:pt idx="448">
                  <c:v>43.954999999999998</c:v>
                </c:pt>
                <c:pt idx="449">
                  <c:v>46.015000000000001</c:v>
                </c:pt>
                <c:pt idx="450">
                  <c:v>45.957500000000003</c:v>
                </c:pt>
                <c:pt idx="451">
                  <c:v>45.82</c:v>
                </c:pt>
                <c:pt idx="452">
                  <c:v>46.505000000000003</c:v>
                </c:pt>
                <c:pt idx="453">
                  <c:v>46.697499999999998</c:v>
                </c:pt>
                <c:pt idx="454">
                  <c:v>46.13</c:v>
                </c:pt>
                <c:pt idx="455">
                  <c:v>45.427500000000002</c:v>
                </c:pt>
                <c:pt idx="456">
                  <c:v>42.45</c:v>
                </c:pt>
                <c:pt idx="457">
                  <c:v>43.4925</c:v>
                </c:pt>
                <c:pt idx="458">
                  <c:v>44.46</c:v>
                </c:pt>
                <c:pt idx="459">
                  <c:v>43.377499999999998</c:v>
                </c:pt>
                <c:pt idx="460">
                  <c:v>45.712499999999999</c:v>
                </c:pt>
                <c:pt idx="461">
                  <c:v>45.877499999999998</c:v>
                </c:pt>
                <c:pt idx="462">
                  <c:v>50.022500000000001</c:v>
                </c:pt>
                <c:pt idx="463">
                  <c:v>51.747500000000002</c:v>
                </c:pt>
                <c:pt idx="464">
                  <c:v>54.582500000000003</c:v>
                </c:pt>
                <c:pt idx="465">
                  <c:v>54.46</c:v>
                </c:pt>
                <c:pt idx="466">
                  <c:v>53.3125</c:v>
                </c:pt>
                <c:pt idx="467">
                  <c:v>54.66</c:v>
                </c:pt>
                <c:pt idx="468">
                  <c:v>51.65</c:v>
                </c:pt>
                <c:pt idx="469">
                  <c:v>49.797499999999999</c:v>
                </c:pt>
                <c:pt idx="470">
                  <c:v>51.08</c:v>
                </c:pt>
                <c:pt idx="471">
                  <c:v>50.524999999999999</c:v>
                </c:pt>
                <c:pt idx="472">
                  <c:v>52.284999999999997</c:v>
                </c:pt>
                <c:pt idx="473">
                  <c:v>51.795000000000002</c:v>
                </c:pt>
                <c:pt idx="474">
                  <c:v>52.5</c:v>
                </c:pt>
                <c:pt idx="475">
                  <c:v>52.53</c:v>
                </c:pt>
                <c:pt idx="476">
                  <c:v>57.2</c:v>
                </c:pt>
                <c:pt idx="477">
                  <c:v>61.887500000000003</c:v>
                </c:pt>
                <c:pt idx="478">
                  <c:v>53.475000000000001</c:v>
                </c:pt>
                <c:pt idx="479">
                  <c:v>52.945</c:v>
                </c:pt>
                <c:pt idx="480">
                  <c:v>49.93</c:v>
                </c:pt>
                <c:pt idx="481">
                  <c:v>50.502499999999998</c:v>
                </c:pt>
                <c:pt idx="482">
                  <c:v>49.052500000000002</c:v>
                </c:pt>
                <c:pt idx="483">
                  <c:v>44.96</c:v>
                </c:pt>
                <c:pt idx="484">
                  <c:v>45.39</c:v>
                </c:pt>
                <c:pt idx="485">
                  <c:v>43.097499999999997</c:v>
                </c:pt>
                <c:pt idx="486">
                  <c:v>41.78</c:v>
                </c:pt>
                <c:pt idx="487">
                  <c:v>44.452500000000001</c:v>
                </c:pt>
                <c:pt idx="488">
                  <c:v>43.412500000000001</c:v>
                </c:pt>
                <c:pt idx="489">
                  <c:v>38.94</c:v>
                </c:pt>
                <c:pt idx="490">
                  <c:v>39.752499999999998</c:v>
                </c:pt>
                <c:pt idx="491">
                  <c:v>34.22</c:v>
                </c:pt>
                <c:pt idx="492">
                  <c:v>36.922499999999999</c:v>
                </c:pt>
                <c:pt idx="493">
                  <c:v>37.147500000000001</c:v>
                </c:pt>
                <c:pt idx="494">
                  <c:v>36.147500000000001</c:v>
                </c:pt>
                <c:pt idx="495">
                  <c:v>38.909999999999997</c:v>
                </c:pt>
                <c:pt idx="496">
                  <c:v>39.284999999999997</c:v>
                </c:pt>
                <c:pt idx="497">
                  <c:v>39.53</c:v>
                </c:pt>
                <c:pt idx="498">
                  <c:v>38.5</c:v>
                </c:pt>
                <c:pt idx="499">
                  <c:v>38.034999999999997</c:v>
                </c:pt>
                <c:pt idx="500">
                  <c:v>37.077500000000001</c:v>
                </c:pt>
                <c:pt idx="501">
                  <c:v>36.615000000000002</c:v>
                </c:pt>
                <c:pt idx="502">
                  <c:v>38.482500000000002</c:v>
                </c:pt>
                <c:pt idx="503">
                  <c:v>38.832500000000003</c:v>
                </c:pt>
                <c:pt idx="504">
                  <c:v>37.097499999999997</c:v>
                </c:pt>
                <c:pt idx="505">
                  <c:v>38.21</c:v>
                </c:pt>
                <c:pt idx="506">
                  <c:v>37.227499999999999</c:v>
                </c:pt>
                <c:pt idx="507">
                  <c:v>32.342500000000001</c:v>
                </c:pt>
                <c:pt idx="508">
                  <c:v>32.7575</c:v>
                </c:pt>
                <c:pt idx="509">
                  <c:v>35.155000000000001</c:v>
                </c:pt>
                <c:pt idx="510">
                  <c:v>32.787500000000001</c:v>
                </c:pt>
                <c:pt idx="511">
                  <c:v>32.575000000000003</c:v>
                </c:pt>
                <c:pt idx="512">
                  <c:v>32.015000000000001</c:v>
                </c:pt>
                <c:pt idx="513">
                  <c:v>30.62</c:v>
                </c:pt>
                <c:pt idx="514">
                  <c:v>29.162500000000001</c:v>
                </c:pt>
                <c:pt idx="515">
                  <c:v>27.227499999999999</c:v>
                </c:pt>
                <c:pt idx="516">
                  <c:v>26.642499999999998</c:v>
                </c:pt>
                <c:pt idx="517">
                  <c:v>25.6675</c:v>
                </c:pt>
                <c:pt idx="518">
                  <c:v>26.59</c:v>
                </c:pt>
                <c:pt idx="519">
                  <c:v>25.037500000000001</c:v>
                </c:pt>
                <c:pt idx="520">
                  <c:v>24.947500000000002</c:v>
                </c:pt>
                <c:pt idx="521">
                  <c:v>25.815000000000001</c:v>
                </c:pt>
                <c:pt idx="522">
                  <c:v>23.38</c:v>
                </c:pt>
                <c:pt idx="523">
                  <c:v>24.477499999999999</c:v>
                </c:pt>
                <c:pt idx="524">
                  <c:v>27.232500000000002</c:v>
                </c:pt>
                <c:pt idx="525">
                  <c:v>28.15</c:v>
                </c:pt>
                <c:pt idx="526">
                  <c:v>25.01</c:v>
                </c:pt>
                <c:pt idx="527">
                  <c:v>24.807500000000001</c:v>
                </c:pt>
                <c:pt idx="528">
                  <c:v>25.585000000000001</c:v>
                </c:pt>
                <c:pt idx="529">
                  <c:v>25.585000000000001</c:v>
                </c:pt>
                <c:pt idx="530">
                  <c:v>28.9</c:v>
                </c:pt>
                <c:pt idx="531">
                  <c:v>31.072500000000002</c:v>
                </c:pt>
                <c:pt idx="532">
                  <c:v>30.6175</c:v>
                </c:pt>
                <c:pt idx="533">
                  <c:v>31.0625</c:v>
                </c:pt>
                <c:pt idx="534">
                  <c:v>29.272500000000001</c:v>
                </c:pt>
                <c:pt idx="535">
                  <c:v>31.54</c:v>
                </c:pt>
                <c:pt idx="536">
                  <c:v>32.082500000000003</c:v>
                </c:pt>
                <c:pt idx="537">
                  <c:v>30.852499999999999</c:v>
                </c:pt>
                <c:pt idx="538">
                  <c:v>30.3825</c:v>
                </c:pt>
                <c:pt idx="539">
                  <c:v>29.515000000000001</c:v>
                </c:pt>
                <c:pt idx="540">
                  <c:v>28.717500000000001</c:v>
                </c:pt>
                <c:pt idx="541">
                  <c:v>31.145</c:v>
                </c:pt>
                <c:pt idx="542">
                  <c:v>29.645</c:v>
                </c:pt>
                <c:pt idx="543">
                  <c:v>30.835000000000001</c:v>
                </c:pt>
                <c:pt idx="544">
                  <c:v>29.754999999999999</c:v>
                </c:pt>
                <c:pt idx="545">
                  <c:v>30.4925</c:v>
                </c:pt>
                <c:pt idx="546">
                  <c:v>29.602499999999999</c:v>
                </c:pt>
                <c:pt idx="547">
                  <c:v>27.914999999999999</c:v>
                </c:pt>
                <c:pt idx="548">
                  <c:v>24.837499999999999</c:v>
                </c:pt>
                <c:pt idx="549">
                  <c:v>25.752500000000001</c:v>
                </c:pt>
                <c:pt idx="550">
                  <c:v>26.302499999999998</c:v>
                </c:pt>
                <c:pt idx="551">
                  <c:v>25.14</c:v>
                </c:pt>
                <c:pt idx="552">
                  <c:v>23.172499999999999</c:v>
                </c:pt>
                <c:pt idx="553">
                  <c:v>19.5275</c:v>
                </c:pt>
                <c:pt idx="554">
                  <c:v>20.66</c:v>
                </c:pt>
                <c:pt idx="555">
                  <c:v>21.715</c:v>
                </c:pt>
                <c:pt idx="556">
                  <c:v>21.925000000000001</c:v>
                </c:pt>
                <c:pt idx="557">
                  <c:v>22.697500000000002</c:v>
                </c:pt>
                <c:pt idx="558">
                  <c:v>23.55</c:v>
                </c:pt>
                <c:pt idx="559">
                  <c:v>30.785</c:v>
                </c:pt>
                <c:pt idx="560">
                  <c:v>35.25</c:v>
                </c:pt>
                <c:pt idx="561">
                  <c:v>35.597499999999997</c:v>
                </c:pt>
                <c:pt idx="562">
                  <c:v>37.987499999999997</c:v>
                </c:pt>
                <c:pt idx="563">
                  <c:v>47.397500000000001</c:v>
                </c:pt>
                <c:pt idx="564">
                  <c:v>44.975000000000001</c:v>
                </c:pt>
                <c:pt idx="565">
                  <c:v>41.712499999999999</c:v>
                </c:pt>
                <c:pt idx="566">
                  <c:v>41.645000000000003</c:v>
                </c:pt>
                <c:pt idx="567">
                  <c:v>41.25</c:v>
                </c:pt>
                <c:pt idx="568">
                  <c:v>42.682499999999997</c:v>
                </c:pt>
                <c:pt idx="569">
                  <c:v>38.397500000000001</c:v>
                </c:pt>
                <c:pt idx="570">
                  <c:v>39.159999999999997</c:v>
                </c:pt>
                <c:pt idx="571">
                  <c:v>37.5</c:v>
                </c:pt>
                <c:pt idx="572">
                  <c:v>36.547499999999999</c:v>
                </c:pt>
                <c:pt idx="573">
                  <c:v>36.732500000000002</c:v>
                </c:pt>
                <c:pt idx="574">
                  <c:v>36.217500000000001</c:v>
                </c:pt>
                <c:pt idx="575">
                  <c:v>37.674999999999997</c:v>
                </c:pt>
                <c:pt idx="576">
                  <c:v>37.692500000000003</c:v>
                </c:pt>
                <c:pt idx="577">
                  <c:v>35.365000000000002</c:v>
                </c:pt>
                <c:pt idx="578">
                  <c:v>38.1175</c:v>
                </c:pt>
                <c:pt idx="579">
                  <c:v>37.212499999999999</c:v>
                </c:pt>
                <c:pt idx="580">
                  <c:v>35.39</c:v>
                </c:pt>
                <c:pt idx="581">
                  <c:v>34.555</c:v>
                </c:pt>
                <c:pt idx="582">
                  <c:v>33.987499999999997</c:v>
                </c:pt>
                <c:pt idx="583">
                  <c:v>31.9</c:v>
                </c:pt>
                <c:pt idx="584">
                  <c:v>32.46</c:v>
                </c:pt>
                <c:pt idx="585">
                  <c:v>32.327500000000001</c:v>
                </c:pt>
                <c:pt idx="586">
                  <c:v>31.267499999999998</c:v>
                </c:pt>
                <c:pt idx="587">
                  <c:v>29.892499999999998</c:v>
                </c:pt>
                <c:pt idx="588">
                  <c:v>30.107500000000002</c:v>
                </c:pt>
                <c:pt idx="589">
                  <c:v>31.77</c:v>
                </c:pt>
                <c:pt idx="590">
                  <c:v>29.782499999999999</c:v>
                </c:pt>
                <c:pt idx="591">
                  <c:v>28.675000000000001</c:v>
                </c:pt>
                <c:pt idx="592">
                  <c:v>24.697500000000002</c:v>
                </c:pt>
                <c:pt idx="593">
                  <c:v>23.375</c:v>
                </c:pt>
                <c:pt idx="594">
                  <c:v>20.3325</c:v>
                </c:pt>
                <c:pt idx="595">
                  <c:v>22.392499999999998</c:v>
                </c:pt>
                <c:pt idx="596">
                  <c:v>24.5975</c:v>
                </c:pt>
                <c:pt idx="597">
                  <c:v>22.95</c:v>
                </c:pt>
                <c:pt idx="598">
                  <c:v>25.094999999999999</c:v>
                </c:pt>
                <c:pt idx="599">
                  <c:v>22.87</c:v>
                </c:pt>
                <c:pt idx="600">
                  <c:v>24.797499999999999</c:v>
                </c:pt>
                <c:pt idx="601">
                  <c:v>23.914999999999999</c:v>
                </c:pt>
                <c:pt idx="602">
                  <c:v>24.032499999999999</c:v>
                </c:pt>
                <c:pt idx="603">
                  <c:v>22.287500000000001</c:v>
                </c:pt>
                <c:pt idx="604">
                  <c:v>28.7925</c:v>
                </c:pt>
                <c:pt idx="605">
                  <c:v>32.115000000000002</c:v>
                </c:pt>
                <c:pt idx="606">
                  <c:v>34.302500000000002</c:v>
                </c:pt>
                <c:pt idx="607">
                  <c:v>31.184999999999999</c:v>
                </c:pt>
                <c:pt idx="608">
                  <c:v>30.35</c:v>
                </c:pt>
                <c:pt idx="609">
                  <c:v>33.5</c:v>
                </c:pt>
                <c:pt idx="610">
                  <c:v>33.424999999999997</c:v>
                </c:pt>
                <c:pt idx="611">
                  <c:v>32.024999999999999</c:v>
                </c:pt>
                <c:pt idx="612">
                  <c:v>36.625</c:v>
                </c:pt>
                <c:pt idx="613">
                  <c:v>34.682499999999997</c:v>
                </c:pt>
                <c:pt idx="614">
                  <c:v>32.244999999999997</c:v>
                </c:pt>
                <c:pt idx="615">
                  <c:v>32.272500000000001</c:v>
                </c:pt>
                <c:pt idx="616">
                  <c:v>29.5625</c:v>
                </c:pt>
                <c:pt idx="617">
                  <c:v>31.5425</c:v>
                </c:pt>
                <c:pt idx="618">
                  <c:v>32.322499999999998</c:v>
                </c:pt>
                <c:pt idx="619">
                  <c:v>31.432500000000001</c:v>
                </c:pt>
                <c:pt idx="620">
                  <c:v>33.784999999999997</c:v>
                </c:pt>
                <c:pt idx="621">
                  <c:v>35.07</c:v>
                </c:pt>
                <c:pt idx="622">
                  <c:v>34.615000000000002</c:v>
                </c:pt>
                <c:pt idx="623">
                  <c:v>35.505000000000003</c:v>
                </c:pt>
                <c:pt idx="624">
                  <c:v>33.802500000000002</c:v>
                </c:pt>
                <c:pt idx="625">
                  <c:v>32.422499999999999</c:v>
                </c:pt>
                <c:pt idx="626">
                  <c:v>31.094999999999999</c:v>
                </c:pt>
                <c:pt idx="627">
                  <c:v>30.715</c:v>
                </c:pt>
                <c:pt idx="628">
                  <c:v>30.574999999999999</c:v>
                </c:pt>
                <c:pt idx="629">
                  <c:v>30.855</c:v>
                </c:pt>
                <c:pt idx="630">
                  <c:v>30.057500000000001</c:v>
                </c:pt>
                <c:pt idx="631">
                  <c:v>29.357500000000002</c:v>
                </c:pt>
                <c:pt idx="632">
                  <c:v>33.78</c:v>
                </c:pt>
                <c:pt idx="633">
                  <c:v>32.134999999999998</c:v>
                </c:pt>
                <c:pt idx="634">
                  <c:v>32.522500000000001</c:v>
                </c:pt>
                <c:pt idx="635">
                  <c:v>34.28</c:v>
                </c:pt>
                <c:pt idx="636">
                  <c:v>35.32</c:v>
                </c:pt>
                <c:pt idx="637">
                  <c:v>34.049999999999997</c:v>
                </c:pt>
                <c:pt idx="638">
                  <c:v>35.409999999999997</c:v>
                </c:pt>
                <c:pt idx="639">
                  <c:v>36.659999999999997</c:v>
                </c:pt>
                <c:pt idx="640">
                  <c:v>37.924999999999997</c:v>
                </c:pt>
                <c:pt idx="641">
                  <c:v>39.6875</c:v>
                </c:pt>
                <c:pt idx="642">
                  <c:v>38.3675</c:v>
                </c:pt>
                <c:pt idx="643">
                  <c:v>35.78</c:v>
                </c:pt>
                <c:pt idx="644">
                  <c:v>33.979999999999997</c:v>
                </c:pt>
                <c:pt idx="645">
                  <c:v>32.43</c:v>
                </c:pt>
                <c:pt idx="646">
                  <c:v>33.78</c:v>
                </c:pt>
                <c:pt idx="647">
                  <c:v>33.840000000000003</c:v>
                </c:pt>
                <c:pt idx="648">
                  <c:v>34.01</c:v>
                </c:pt>
                <c:pt idx="649">
                  <c:v>34.78</c:v>
                </c:pt>
                <c:pt idx="650">
                  <c:v>35.840000000000003</c:v>
                </c:pt>
                <c:pt idx="651">
                  <c:v>37.93</c:v>
                </c:pt>
                <c:pt idx="652">
                  <c:v>38.36</c:v>
                </c:pt>
                <c:pt idx="653">
                  <c:v>40.020000000000003</c:v>
                </c:pt>
                <c:pt idx="654">
                  <c:v>43.45</c:v>
                </c:pt>
                <c:pt idx="655">
                  <c:v>40.369999999999997</c:v>
                </c:pt>
                <c:pt idx="656">
                  <c:v>40.53</c:v>
                </c:pt>
                <c:pt idx="657">
                  <c:v>39.450000000000003</c:v>
                </c:pt>
                <c:pt idx="658">
                  <c:v>40.74</c:v>
                </c:pt>
                <c:pt idx="659">
                  <c:v>39.68</c:v>
                </c:pt>
                <c:pt idx="660">
                  <c:v>42.19</c:v>
                </c:pt>
                <c:pt idx="661">
                  <c:v>40.520000000000003</c:v>
                </c:pt>
                <c:pt idx="662">
                  <c:v>37.93</c:v>
                </c:pt>
                <c:pt idx="663">
                  <c:v>36.49</c:v>
                </c:pt>
                <c:pt idx="664">
                  <c:v>34.5</c:v>
                </c:pt>
                <c:pt idx="665">
                  <c:v>33.53</c:v>
                </c:pt>
                <c:pt idx="666">
                  <c:v>32.5</c:v>
                </c:pt>
                <c:pt idx="667">
                  <c:v>31.96</c:v>
                </c:pt>
                <c:pt idx="668">
                  <c:v>30.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910-428C-8B7F-96DF435448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9358"/>
          <c:min val="18262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9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549869904596703E-2"/>
          <c:y val="2.9748283752860413E-2"/>
          <c:w val="0.95490026019080654"/>
          <c:h val="0.9405034324942791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5700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2CB-4D15-8781-044FB7E67A23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2CB-4D15-8781-044FB7E67A23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2CB-4D15-8781-044FB7E67A23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2CB-4D15-8781-044FB7E67A23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2CB-4D15-8781-044FB7E67A23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1598709</c:v>
                </c:pt>
                <c:pt idx="1">
                  <c:v>1150222</c:v>
                </c:pt>
                <c:pt idx="2">
                  <c:v>1070689</c:v>
                </c:pt>
                <c:pt idx="3">
                  <c:v>893965</c:v>
                </c:pt>
                <c:pt idx="4">
                  <c:v>835531</c:v>
                </c:pt>
                <c:pt idx="5">
                  <c:v>832481</c:v>
                </c:pt>
                <c:pt idx="6">
                  <c:v>791760</c:v>
                </c:pt>
                <c:pt idx="7">
                  <c:v>785200</c:v>
                </c:pt>
                <c:pt idx="8">
                  <c:v>759721</c:v>
                </c:pt>
                <c:pt idx="9">
                  <c:v>7443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2CB-4D15-8781-044FB7E67A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60224143"/>
        <c:axId val="1"/>
      </c:barChart>
      <c:catAx>
        <c:axId val="19602241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9602241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726581074655255E-2"/>
          <c:y val="2.9680365296803651E-2"/>
          <c:w val="0.9505468378506895"/>
          <c:h val="0.94063926940639264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2E5A-4B17-B27E-3A17A80E35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2E5A-4B17-B27E-3A17A80E35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2E5A-4B17-B27E-3A17A80E35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2E5A-4B17-B27E-3A17A80E35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2E5A-4B17-B27E-3A17A80E35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2E5A-4B17-B27E-3A17A80E35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2E5A-4B17-B27E-3A17A80E35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2E5A-4B17-B27E-3A17A80E35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2E5A-4B17-B27E-3A17A80E35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2E5A-4B17-B27E-3A17A80E35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2E5A-4B17-B27E-3A17A80E35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2E5A-4B17-B27E-3A17A80E35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2E5A-4B17-B27E-3A17A80E35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2E5A-4B17-B27E-3A17A80E35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2E5A-4B17-B27E-3A17A80E35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2E5A-4B17-B27E-3A17A80E35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2E5A-4B17-B27E-3A17A80E35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2E5A-4B17-B27E-3A17A80E35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2E5A-4B17-B27E-3A17A80E35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2E5A-4B17-B27E-3A17A80E35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2E5A-4B17-B27E-3A17A80E35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2E5A-4B17-B27E-3A17A80E35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2E5A-4B17-B27E-3A17A80E35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2E5A-4B17-B27E-3A17A80E35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2E5A-4B17-B27E-3A17A80E35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2E5A-4B17-B27E-3A17A80E35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2E5A-4B17-B27E-3A17A80E353C}"/>
              </c:ext>
            </c:extLst>
          </c:dPt>
          <c:xVal>
            <c:numRef>
              <c:f>Sheet1!$A$1:$AA$1</c:f>
              <c:numCache>
                <c:formatCode>General</c:formatCode>
                <c:ptCount val="27"/>
                <c:pt idx="0">
                  <c:v>18637</c:v>
                </c:pt>
                <c:pt idx="1">
                  <c:v>18638</c:v>
                </c:pt>
                <c:pt idx="2">
                  <c:v>18639</c:v>
                </c:pt>
                <c:pt idx="3">
                  <c:v>18640</c:v>
                </c:pt>
                <c:pt idx="4">
                  <c:v>18641</c:v>
                </c:pt>
                <c:pt idx="5">
                  <c:v>18642</c:v>
                </c:pt>
                <c:pt idx="6">
                  <c:v>18643</c:v>
                </c:pt>
                <c:pt idx="7">
                  <c:v>18644</c:v>
                </c:pt>
                <c:pt idx="8">
                  <c:v>18645</c:v>
                </c:pt>
                <c:pt idx="9">
                  <c:v>18646</c:v>
                </c:pt>
                <c:pt idx="10">
                  <c:v>18647</c:v>
                </c:pt>
                <c:pt idx="11">
                  <c:v>18648</c:v>
                </c:pt>
                <c:pt idx="12">
                  <c:v>18649</c:v>
                </c:pt>
                <c:pt idx="13">
                  <c:v>18650</c:v>
                </c:pt>
                <c:pt idx="14">
                  <c:v>18651</c:v>
                </c:pt>
                <c:pt idx="15">
                  <c:v>18652</c:v>
                </c:pt>
                <c:pt idx="16">
                  <c:v>18653</c:v>
                </c:pt>
                <c:pt idx="17">
                  <c:v>18654</c:v>
                </c:pt>
                <c:pt idx="18">
                  <c:v>18655</c:v>
                </c:pt>
                <c:pt idx="19">
                  <c:v>18656</c:v>
                </c:pt>
                <c:pt idx="20">
                  <c:v>18657</c:v>
                </c:pt>
                <c:pt idx="21">
                  <c:v>18658</c:v>
                </c:pt>
                <c:pt idx="22">
                  <c:v>18659</c:v>
                </c:pt>
                <c:pt idx="23">
                  <c:v>18660</c:v>
                </c:pt>
                <c:pt idx="24">
                  <c:v>18661</c:v>
                </c:pt>
                <c:pt idx="25">
                  <c:v>18662</c:v>
                </c:pt>
                <c:pt idx="26">
                  <c:v>18663</c:v>
                </c:pt>
              </c:numCache>
            </c:numRef>
          </c:xVal>
          <c:yVal>
            <c:numRef>
              <c:f>Sheet1!$A$2:$AA$2</c:f>
              <c:numCache>
                <c:formatCode>General</c:formatCode>
                <c:ptCount val="27"/>
                <c:pt idx="0">
                  <c:v>111</c:v>
                </c:pt>
                <c:pt idx="1">
                  <c:v>178</c:v>
                </c:pt>
                <c:pt idx="2">
                  <c:v>140</c:v>
                </c:pt>
                <c:pt idx="3">
                  <c:v>257</c:v>
                </c:pt>
                <c:pt idx="4">
                  <c:v>471</c:v>
                </c:pt>
                <c:pt idx="5">
                  <c:v>566</c:v>
                </c:pt>
                <c:pt idx="6">
                  <c:v>200</c:v>
                </c:pt>
                <c:pt idx="7">
                  <c:v>95</c:v>
                </c:pt>
                <c:pt idx="8">
                  <c:v>181</c:v>
                </c:pt>
                <c:pt idx="9">
                  <c:v>525</c:v>
                </c:pt>
                <c:pt idx="10">
                  <c:v>454</c:v>
                </c:pt>
                <c:pt idx="11">
                  <c:v>393</c:v>
                </c:pt>
                <c:pt idx="12">
                  <c:v>964</c:v>
                </c:pt>
                <c:pt idx="13">
                  <c:v>508</c:v>
                </c:pt>
                <c:pt idx="14">
                  <c:v>341</c:v>
                </c:pt>
                <c:pt idx="15">
                  <c:v>3309</c:v>
                </c:pt>
                <c:pt idx="16">
                  <c:v>5014</c:v>
                </c:pt>
                <c:pt idx="17">
                  <c:v>12042</c:v>
                </c:pt>
                <c:pt idx="18">
                  <c:v>2124</c:v>
                </c:pt>
                <c:pt idx="19">
                  <c:v>4677</c:v>
                </c:pt>
                <c:pt idx="20">
                  <c:v>35243</c:v>
                </c:pt>
                <c:pt idx="21">
                  <c:v>20593</c:v>
                </c:pt>
                <c:pt idx="22">
                  <c:v>9318</c:v>
                </c:pt>
                <c:pt idx="23">
                  <c:v>7498</c:v>
                </c:pt>
                <c:pt idx="24">
                  <c:v>2670</c:v>
                </c:pt>
                <c:pt idx="25">
                  <c:v>675</c:v>
                </c:pt>
                <c:pt idx="26">
                  <c:v>5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B-2E5A-4B17-B27E-3A17A80E353C}"/>
            </c:ext>
          </c:extLst>
        </c:ser>
        <c:ser>
          <c:idx val="1"/>
          <c:order val="1"/>
          <c:spPr>
            <a:ln w="19050" cmpd="sng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2E5A-4B17-B27E-3A17A80E35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2E5A-4B17-B27E-3A17A80E35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2E5A-4B17-B27E-3A17A80E35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2E5A-4B17-B27E-3A17A80E35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2E5A-4B17-B27E-3A17A80E35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2E5A-4B17-B27E-3A17A80E35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2E5A-4B17-B27E-3A17A80E35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2E5A-4B17-B27E-3A17A80E35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2E5A-4B17-B27E-3A17A80E35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2E5A-4B17-B27E-3A17A80E35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2E5A-4B17-B27E-3A17A80E35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2E5A-4B17-B27E-3A17A80E35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2E5A-4B17-B27E-3A17A80E35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2E5A-4B17-B27E-3A17A80E35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2E5A-4B17-B27E-3A17A80E35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2E5A-4B17-B27E-3A17A80E35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2E5A-4B17-B27E-3A17A80E35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2E5A-4B17-B27E-3A17A80E35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2E5A-4B17-B27E-3A17A80E35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2E5A-4B17-B27E-3A17A80E35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2E5A-4B17-B27E-3A17A80E35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2E5A-4B17-B27E-3A17A80E35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2E5A-4B17-B27E-3A17A80E35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2E5A-4B17-B27E-3A17A80E35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2E5A-4B17-B27E-3A17A80E35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2E5A-4B17-B27E-3A17A80E35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2E5A-4B17-B27E-3A17A80E353C}"/>
              </c:ext>
            </c:extLst>
          </c:dPt>
          <c:xVal>
            <c:numRef>
              <c:f>Sheet1!$A$1:$AA$1</c:f>
              <c:numCache>
                <c:formatCode>General</c:formatCode>
                <c:ptCount val="27"/>
                <c:pt idx="0">
                  <c:v>18637</c:v>
                </c:pt>
                <c:pt idx="1">
                  <c:v>18638</c:v>
                </c:pt>
                <c:pt idx="2">
                  <c:v>18639</c:v>
                </c:pt>
                <c:pt idx="3">
                  <c:v>18640</c:v>
                </c:pt>
                <c:pt idx="4">
                  <c:v>18641</c:v>
                </c:pt>
                <c:pt idx="5">
                  <c:v>18642</c:v>
                </c:pt>
                <c:pt idx="6">
                  <c:v>18643</c:v>
                </c:pt>
                <c:pt idx="7">
                  <c:v>18644</c:v>
                </c:pt>
                <c:pt idx="8">
                  <c:v>18645</c:v>
                </c:pt>
                <c:pt idx="9">
                  <c:v>18646</c:v>
                </c:pt>
                <c:pt idx="10">
                  <c:v>18647</c:v>
                </c:pt>
                <c:pt idx="11">
                  <c:v>18648</c:v>
                </c:pt>
                <c:pt idx="12">
                  <c:v>18649</c:v>
                </c:pt>
                <c:pt idx="13">
                  <c:v>18650</c:v>
                </c:pt>
                <c:pt idx="14">
                  <c:v>18651</c:v>
                </c:pt>
                <c:pt idx="15">
                  <c:v>18652</c:v>
                </c:pt>
                <c:pt idx="16">
                  <c:v>18653</c:v>
                </c:pt>
                <c:pt idx="17">
                  <c:v>18654</c:v>
                </c:pt>
                <c:pt idx="18">
                  <c:v>18655</c:v>
                </c:pt>
                <c:pt idx="19">
                  <c:v>18656</c:v>
                </c:pt>
                <c:pt idx="20">
                  <c:v>18657</c:v>
                </c:pt>
                <c:pt idx="21">
                  <c:v>18658</c:v>
                </c:pt>
                <c:pt idx="22">
                  <c:v>18659</c:v>
                </c:pt>
                <c:pt idx="23">
                  <c:v>18660</c:v>
                </c:pt>
                <c:pt idx="24">
                  <c:v>18661</c:v>
                </c:pt>
                <c:pt idx="25">
                  <c:v>18662</c:v>
                </c:pt>
                <c:pt idx="26">
                  <c:v>18663</c:v>
                </c:pt>
              </c:numCache>
            </c:numRef>
          </c:xVal>
          <c:yVal>
            <c:numRef>
              <c:f>Sheet1!$A$3:$AA$3</c:f>
              <c:numCache>
                <c:formatCode>General</c:formatCode>
                <c:ptCount val="27"/>
                <c:pt idx="0">
                  <c:v>50289</c:v>
                </c:pt>
                <c:pt idx="1">
                  <c:v>53530</c:v>
                </c:pt>
                <c:pt idx="2">
                  <c:v>47606</c:v>
                </c:pt>
                <c:pt idx="3">
                  <c:v>52736</c:v>
                </c:pt>
                <c:pt idx="4">
                  <c:v>54046</c:v>
                </c:pt>
                <c:pt idx="5">
                  <c:v>49779</c:v>
                </c:pt>
                <c:pt idx="6">
                  <c:v>47434</c:v>
                </c:pt>
                <c:pt idx="7">
                  <c:v>35417</c:v>
                </c:pt>
                <c:pt idx="8">
                  <c:v>50348</c:v>
                </c:pt>
                <c:pt idx="9">
                  <c:v>54143</c:v>
                </c:pt>
                <c:pt idx="10">
                  <c:v>53897</c:v>
                </c:pt>
                <c:pt idx="11">
                  <c:v>49587</c:v>
                </c:pt>
                <c:pt idx="12">
                  <c:v>51078</c:v>
                </c:pt>
                <c:pt idx="13">
                  <c:v>45035</c:v>
                </c:pt>
                <c:pt idx="14">
                  <c:v>47891</c:v>
                </c:pt>
                <c:pt idx="15">
                  <c:v>55154</c:v>
                </c:pt>
                <c:pt idx="16">
                  <c:v>58438</c:v>
                </c:pt>
                <c:pt idx="17">
                  <c:v>84411</c:v>
                </c:pt>
                <c:pt idx="18">
                  <c:v>103240</c:v>
                </c:pt>
                <c:pt idx="19">
                  <c:v>106575</c:v>
                </c:pt>
                <c:pt idx="20">
                  <c:v>112496</c:v>
                </c:pt>
                <c:pt idx="21">
                  <c:v>80415</c:v>
                </c:pt>
                <c:pt idx="22">
                  <c:v>94214</c:v>
                </c:pt>
                <c:pt idx="23">
                  <c:v>86485</c:v>
                </c:pt>
                <c:pt idx="24">
                  <c:v>76978</c:v>
                </c:pt>
                <c:pt idx="25">
                  <c:v>69509</c:v>
                </c:pt>
                <c:pt idx="26">
                  <c:v>6477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7-2E5A-4B17-B27E-3A17A80E35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665"/>
          <c:min val="18637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2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170154508116565E-2"/>
          <c:y val="2.6170105686965275E-2"/>
          <c:w val="0.97965969098376682"/>
          <c:h val="0.947659788626069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C368-44E2-A3C3-BE1BAAAA6E6F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C368-44E2-A3C3-BE1BAAAA6E6F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368-44E2-A3C3-BE1BAAAA6E6F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C368-44E2-A3C3-BE1BAAAA6E6F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C368-44E2-A3C3-BE1BAAAA6E6F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C368-44E2-A3C3-BE1BAAAA6E6F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C368-44E2-A3C3-BE1BAAAA6E6F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C368-44E2-A3C3-BE1BAAAA6E6F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C368-44E2-A3C3-BE1BAAAA6E6F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C368-44E2-A3C3-BE1BAAAA6E6F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C368-44E2-A3C3-BE1BAAAA6E6F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C368-44E2-A3C3-BE1BAAAA6E6F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C368-44E2-A3C3-BE1BAAAA6E6F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C368-44E2-A3C3-BE1BAAAA6E6F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C368-44E2-A3C3-BE1BAAAA6E6F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C368-44E2-A3C3-BE1BAAAA6E6F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C368-44E2-A3C3-BE1BAAAA6E6F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C368-44E2-A3C3-BE1BAAAA6E6F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C368-44E2-A3C3-BE1BAAAA6E6F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C368-44E2-A3C3-BE1BAAAA6E6F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C368-44E2-A3C3-BE1BAAAA6E6F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C368-44E2-A3C3-BE1BAAAA6E6F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C368-44E2-A3C3-BE1BAAAA6E6F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C368-44E2-A3C3-BE1BAAAA6E6F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C368-44E2-A3C3-BE1BAAAA6E6F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C368-44E2-A3C3-BE1BAAAA6E6F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C368-44E2-A3C3-BE1BAAAA6E6F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C368-44E2-A3C3-BE1BAAAA6E6F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C368-44E2-A3C3-BE1BAAAA6E6F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C368-44E2-A3C3-BE1BAAAA6E6F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C368-44E2-A3C3-BE1BAAAA6E6F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C368-44E2-A3C3-BE1BAAAA6E6F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C368-44E2-A3C3-BE1BAAAA6E6F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C368-44E2-A3C3-BE1BAAAA6E6F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C368-44E2-A3C3-BE1BAAAA6E6F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C368-44E2-A3C3-BE1BAAAA6E6F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C368-44E2-A3C3-BE1BAAAA6E6F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C368-44E2-A3C3-BE1BAAAA6E6F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C368-44E2-A3C3-BE1BAAAA6E6F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C368-44E2-A3C3-BE1BAAAA6E6F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C368-44E2-A3C3-BE1BAAAA6E6F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C368-44E2-A3C3-BE1BAAAA6E6F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C368-44E2-A3C3-BE1BAAAA6E6F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C368-44E2-A3C3-BE1BAAAA6E6F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C368-44E2-A3C3-BE1BAAAA6E6F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C368-44E2-A3C3-BE1BAAAA6E6F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C368-44E2-A3C3-BE1BAAAA6E6F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C368-44E2-A3C3-BE1BAAAA6E6F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C368-44E2-A3C3-BE1BAAAA6E6F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C368-44E2-A3C3-BE1BAAAA6E6F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C368-44E2-A3C3-BE1BAAAA6E6F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C368-44E2-A3C3-BE1BAAAA6E6F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C368-44E2-A3C3-BE1BAAAA6E6F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C368-44E2-A3C3-BE1BAAAA6E6F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4.5314285714285703E-2</c:v>
                </c:pt>
                <c:pt idx="1">
                  <c:v>5.8278571428571402E-2</c:v>
                </c:pt>
                <c:pt idx="2">
                  <c:v>5.3964285714285701E-2</c:v>
                </c:pt>
                <c:pt idx="3">
                  <c:v>4.0828571428571402E-2</c:v>
                </c:pt>
                <c:pt idx="4">
                  <c:v>4.0721428571428603E-2</c:v>
                </c:pt>
                <c:pt idx="5">
                  <c:v>7.17857142857143E-2</c:v>
                </c:pt>
                <c:pt idx="6">
                  <c:v>4.7721428571428602E-2</c:v>
                </c:pt>
                <c:pt idx="7">
                  <c:v>4.1357142857142898E-2</c:v>
                </c:pt>
                <c:pt idx="8">
                  <c:v>4.2742857142857103E-2</c:v>
                </c:pt>
                <c:pt idx="9">
                  <c:v>3.1614285714285699E-2</c:v>
                </c:pt>
                <c:pt idx="10">
                  <c:v>3.2485714285714298E-2</c:v>
                </c:pt>
                <c:pt idx="11">
                  <c:v>4.1492857142857102E-2</c:v>
                </c:pt>
                <c:pt idx="12">
                  <c:v>3.4164285714285703E-2</c:v>
                </c:pt>
                <c:pt idx="13">
                  <c:v>3.7957142857142898E-2</c:v>
                </c:pt>
                <c:pt idx="14">
                  <c:v>4.7707142857142899E-2</c:v>
                </c:pt>
                <c:pt idx="15">
                  <c:v>4.6871428571428599E-2</c:v>
                </c:pt>
                <c:pt idx="16">
                  <c:v>4.2421428571428603E-2</c:v>
                </c:pt>
                <c:pt idx="17">
                  <c:v>6.7914285714285705E-2</c:v>
                </c:pt>
                <c:pt idx="18">
                  <c:v>6.8614285714285697E-2</c:v>
                </c:pt>
                <c:pt idx="19">
                  <c:v>6.0614285714285697E-2</c:v>
                </c:pt>
                <c:pt idx="20">
                  <c:v>5.6464285714285703E-2</c:v>
                </c:pt>
                <c:pt idx="21">
                  <c:v>4.69214285714286E-2</c:v>
                </c:pt>
                <c:pt idx="22">
                  <c:v>4.5321428571428603E-2</c:v>
                </c:pt>
                <c:pt idx="23">
                  <c:v>5.8285714285714302E-2</c:v>
                </c:pt>
                <c:pt idx="24">
                  <c:v>8.0457142857142894E-2</c:v>
                </c:pt>
                <c:pt idx="25">
                  <c:v>0.12187142857142901</c:v>
                </c:pt>
                <c:pt idx="26">
                  <c:v>0.53289285714285695</c:v>
                </c:pt>
                <c:pt idx="27">
                  <c:v>0.29209285714285699</c:v>
                </c:pt>
                <c:pt idx="28">
                  <c:v>0.108242857142857</c:v>
                </c:pt>
                <c:pt idx="29">
                  <c:v>8.5907142857142904E-2</c:v>
                </c:pt>
                <c:pt idx="30">
                  <c:v>0.13448571428571399</c:v>
                </c:pt>
                <c:pt idx="31">
                  <c:v>9.8207142857142896E-2</c:v>
                </c:pt>
                <c:pt idx="32">
                  <c:v>0.1188</c:v>
                </c:pt>
                <c:pt idx="33">
                  <c:v>7.6285714285714304E-2</c:v>
                </c:pt>
                <c:pt idx="34">
                  <c:v>6.90428571428571E-2</c:v>
                </c:pt>
                <c:pt idx="35">
                  <c:v>4.3528571428571403E-2</c:v>
                </c:pt>
                <c:pt idx="36">
                  <c:v>3.8550000000000001E-2</c:v>
                </c:pt>
                <c:pt idx="37">
                  <c:v>4.1664285714285702E-2</c:v>
                </c:pt>
                <c:pt idx="38">
                  <c:v>2.15428571428571E-2</c:v>
                </c:pt>
                <c:pt idx="39">
                  <c:v>3.0592857142857099E-2</c:v>
                </c:pt>
                <c:pt idx="40">
                  <c:v>2.6621428571428601E-2</c:v>
                </c:pt>
                <c:pt idx="41">
                  <c:v>2.3885714285714298E-2</c:v>
                </c:pt>
                <c:pt idx="42">
                  <c:v>2.1221428571428599E-2</c:v>
                </c:pt>
                <c:pt idx="43">
                  <c:v>2.5242857142857102E-2</c:v>
                </c:pt>
                <c:pt idx="44">
                  <c:v>4.0128571428571402E-2</c:v>
                </c:pt>
                <c:pt idx="45">
                  <c:v>5.65357142857143E-2</c:v>
                </c:pt>
                <c:pt idx="46">
                  <c:v>3.465E-2</c:v>
                </c:pt>
                <c:pt idx="47">
                  <c:v>2.3607142857142899E-2</c:v>
                </c:pt>
                <c:pt idx="48">
                  <c:v>2.16285714285714E-2</c:v>
                </c:pt>
                <c:pt idx="49">
                  <c:v>1.8514285714285698E-2</c:v>
                </c:pt>
                <c:pt idx="50">
                  <c:v>1.8342857142857098E-2</c:v>
                </c:pt>
                <c:pt idx="51">
                  <c:v>1.83142857142857E-2</c:v>
                </c:pt>
                <c:pt idx="52">
                  <c:v>2.06071428571429E-2</c:v>
                </c:pt>
                <c:pt idx="53">
                  <c:v>1.62666666666667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C368-44E2-A3C3-BE1BAAAA6E6F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C368-44E2-A3C3-BE1BAAAA6E6F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C368-44E2-A3C3-BE1BAAAA6E6F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C368-44E2-A3C3-BE1BAAAA6E6F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C368-44E2-A3C3-BE1BAAAA6E6F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C368-44E2-A3C3-BE1BAAAA6E6F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C368-44E2-A3C3-BE1BAAAA6E6F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C368-44E2-A3C3-BE1BAAAA6E6F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C368-44E2-A3C3-BE1BAAAA6E6F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C368-44E2-A3C3-BE1BAAAA6E6F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C368-44E2-A3C3-BE1BAAAA6E6F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C368-44E2-A3C3-BE1BAAAA6E6F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C368-44E2-A3C3-BE1BAAAA6E6F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C368-44E2-A3C3-BE1BAAAA6E6F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C368-44E2-A3C3-BE1BAAAA6E6F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C368-44E2-A3C3-BE1BAAAA6E6F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C368-44E2-A3C3-BE1BAAAA6E6F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7-C368-44E2-A3C3-BE1BAAAA6E6F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8-C368-44E2-A3C3-BE1BAAAA6E6F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9-C368-44E2-A3C3-BE1BAAAA6E6F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A-C368-44E2-A3C3-BE1BAAAA6E6F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B-C368-44E2-A3C3-BE1BAAAA6E6F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C-C368-44E2-A3C3-BE1BAAAA6E6F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D-C368-44E2-A3C3-BE1BAAAA6E6F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E-C368-44E2-A3C3-BE1BAAAA6E6F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F-C368-44E2-A3C3-BE1BAAAA6E6F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0-C368-44E2-A3C3-BE1BAAAA6E6F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1-C368-44E2-A3C3-BE1BAAAA6E6F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2-C368-44E2-A3C3-BE1BAAAA6E6F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3-C368-44E2-A3C3-BE1BAAAA6E6F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4-C368-44E2-A3C3-BE1BAAAA6E6F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5-C368-44E2-A3C3-BE1BAAAA6E6F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6-C368-44E2-A3C3-BE1BAAAA6E6F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7-C368-44E2-A3C3-BE1BAAAA6E6F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8-C368-44E2-A3C3-BE1BAAAA6E6F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9-C368-44E2-A3C3-BE1BAAAA6E6F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A-C368-44E2-A3C3-BE1BAAAA6E6F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B-C368-44E2-A3C3-BE1BAAAA6E6F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C-C368-44E2-A3C3-BE1BAAAA6E6F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D-C368-44E2-A3C3-BE1BAAAA6E6F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E-C368-44E2-A3C3-BE1BAAAA6E6F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F-C368-44E2-A3C3-BE1BAAAA6E6F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0-C368-44E2-A3C3-BE1BAAAA6E6F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1-C368-44E2-A3C3-BE1BAAAA6E6F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2-C368-44E2-A3C3-BE1BAAAA6E6F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3-C368-44E2-A3C3-BE1BAAAA6E6F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4-C368-44E2-A3C3-BE1BAAAA6E6F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5-C368-44E2-A3C3-BE1BAAAA6E6F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6-C368-44E2-A3C3-BE1BAAAA6E6F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7-C368-44E2-A3C3-BE1BAAAA6E6F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8-C368-44E2-A3C3-BE1BAAAA6E6F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9-C368-44E2-A3C3-BE1BAAAA6E6F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A-C368-44E2-A3C3-BE1BAAAA6E6F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B-C368-44E2-A3C3-BE1BAAAA6E6F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C-C368-44E2-A3C3-BE1BAAAA6E6F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0.89844999999999997</c:v>
                </c:pt>
                <c:pt idx="1">
                  <c:v>0.93561428571428595</c:v>
                </c:pt>
                <c:pt idx="2">
                  <c:v>0.94939285714285704</c:v>
                </c:pt>
                <c:pt idx="3">
                  <c:v>0.94500714285714305</c:v>
                </c:pt>
                <c:pt idx="4">
                  <c:v>0.95865</c:v>
                </c:pt>
                <c:pt idx="5">
                  <c:v>0.94459285714285701</c:v>
                </c:pt>
                <c:pt idx="6">
                  <c:v>0.93782857142857101</c:v>
                </c:pt>
                <c:pt idx="7">
                  <c:v>0.97177857142857105</c:v>
                </c:pt>
                <c:pt idx="8">
                  <c:v>0.97064285714285703</c:v>
                </c:pt>
                <c:pt idx="9">
                  <c:v>0.96625714285714304</c:v>
                </c:pt>
                <c:pt idx="10">
                  <c:v>0.94730000000000003</c:v>
                </c:pt>
                <c:pt idx="11">
                  <c:v>0.948028571428571</c:v>
                </c:pt>
                <c:pt idx="12">
                  <c:v>0.96840000000000004</c:v>
                </c:pt>
                <c:pt idx="13">
                  <c:v>0.99477857142857096</c:v>
                </c:pt>
                <c:pt idx="14">
                  <c:v>1.10205</c:v>
                </c:pt>
                <c:pt idx="15">
                  <c:v>0.99478571428571405</c:v>
                </c:pt>
                <c:pt idx="16">
                  <c:v>1.0328214285714299</c:v>
                </c:pt>
                <c:pt idx="17">
                  <c:v>0.95642142857142898</c:v>
                </c:pt>
                <c:pt idx="18">
                  <c:v>1.0037785714285701</c:v>
                </c:pt>
                <c:pt idx="19">
                  <c:v>1.0546428571428601</c:v>
                </c:pt>
                <c:pt idx="20">
                  <c:v>1.06297857142857</c:v>
                </c:pt>
                <c:pt idx="21">
                  <c:v>0.96972142857142896</c:v>
                </c:pt>
                <c:pt idx="22">
                  <c:v>0.97980714285714299</c:v>
                </c:pt>
                <c:pt idx="23">
                  <c:v>1.12022857142857</c:v>
                </c:pt>
                <c:pt idx="24">
                  <c:v>1.11574285714286</c:v>
                </c:pt>
                <c:pt idx="25">
                  <c:v>1.08318571428571</c:v>
                </c:pt>
                <c:pt idx="26">
                  <c:v>1.10412857142857</c:v>
                </c:pt>
                <c:pt idx="27">
                  <c:v>1.06165</c:v>
                </c:pt>
                <c:pt idx="28">
                  <c:v>1.08307142857143</c:v>
                </c:pt>
                <c:pt idx="29">
                  <c:v>1.0943000000000001</c:v>
                </c:pt>
                <c:pt idx="30">
                  <c:v>1.0663571428571399</c:v>
                </c:pt>
                <c:pt idx="31">
                  <c:v>1.06191428571429</c:v>
                </c:pt>
                <c:pt idx="32">
                  <c:v>1.02212142857143</c:v>
                </c:pt>
                <c:pt idx="33">
                  <c:v>1.0297571428571399</c:v>
                </c:pt>
                <c:pt idx="34">
                  <c:v>1.00665</c:v>
                </c:pt>
                <c:pt idx="35">
                  <c:v>0.94447857142857095</c:v>
                </c:pt>
                <c:pt idx="36">
                  <c:v>1.0256642857142899</c:v>
                </c:pt>
                <c:pt idx="37">
                  <c:v>1.0075642857142899</c:v>
                </c:pt>
                <c:pt idx="38">
                  <c:v>1.06010714285714</c:v>
                </c:pt>
                <c:pt idx="39">
                  <c:v>1.03667857142857</c:v>
                </c:pt>
                <c:pt idx="40">
                  <c:v>1.0393142857142901</c:v>
                </c:pt>
                <c:pt idx="41">
                  <c:v>1.1007785714285701</c:v>
                </c:pt>
                <c:pt idx="42">
                  <c:v>1.1013142857142899</c:v>
                </c:pt>
                <c:pt idx="43">
                  <c:v>0.99031428571428604</c:v>
                </c:pt>
                <c:pt idx="44">
                  <c:v>0.99319999999999997</c:v>
                </c:pt>
                <c:pt idx="45">
                  <c:v>1.0448285714285701</c:v>
                </c:pt>
                <c:pt idx="46">
                  <c:v>1.0253071428571401</c:v>
                </c:pt>
                <c:pt idx="47">
                  <c:v>0.98097142857142905</c:v>
                </c:pt>
                <c:pt idx="48">
                  <c:v>0.98014999999999997</c:v>
                </c:pt>
                <c:pt idx="49">
                  <c:v>0.86998571428571403</c:v>
                </c:pt>
                <c:pt idx="50">
                  <c:v>0.93944285714285702</c:v>
                </c:pt>
                <c:pt idx="51">
                  <c:v>0.92702857142857098</c:v>
                </c:pt>
                <c:pt idx="52">
                  <c:v>0.90060714285714305</c:v>
                </c:pt>
                <c:pt idx="53">
                  <c:v>0.90321666666666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D-C368-44E2-A3C3-BE1BAAAA6E6F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E-C368-44E2-A3C3-BE1BAAAA6E6F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F-C368-44E2-A3C3-BE1BAAAA6E6F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0-C368-44E2-A3C3-BE1BAAAA6E6F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1-C368-44E2-A3C3-BE1BAAAA6E6F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2-C368-44E2-A3C3-BE1BAAAA6E6F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3-C368-44E2-A3C3-BE1BAAAA6E6F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4-C368-44E2-A3C3-BE1BAAAA6E6F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5-C368-44E2-A3C3-BE1BAAAA6E6F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6-C368-44E2-A3C3-BE1BAAAA6E6F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7-C368-44E2-A3C3-BE1BAAAA6E6F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8-C368-44E2-A3C3-BE1BAAAA6E6F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9-C368-44E2-A3C3-BE1BAAAA6E6F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A-C368-44E2-A3C3-BE1BAAAA6E6F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B-C368-44E2-A3C3-BE1BAAAA6E6F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C-C368-44E2-A3C3-BE1BAAAA6E6F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D-C368-44E2-A3C3-BE1BAAAA6E6F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E-C368-44E2-A3C3-BE1BAAAA6E6F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F-C368-44E2-A3C3-BE1BAAAA6E6F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0-C368-44E2-A3C3-BE1BAAAA6E6F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1-C368-44E2-A3C3-BE1BAAAA6E6F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2-C368-44E2-A3C3-BE1BAAAA6E6F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3-C368-44E2-A3C3-BE1BAAAA6E6F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4-C368-44E2-A3C3-BE1BAAAA6E6F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5-C368-44E2-A3C3-BE1BAAAA6E6F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6-C368-44E2-A3C3-BE1BAAAA6E6F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7-C368-44E2-A3C3-BE1BAAAA6E6F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8-C368-44E2-A3C3-BE1BAAAA6E6F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9-C368-44E2-A3C3-BE1BAAAA6E6F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A-C368-44E2-A3C3-BE1BAAAA6E6F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B-C368-44E2-A3C3-BE1BAAAA6E6F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C-C368-44E2-A3C3-BE1BAAAA6E6F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D-C368-44E2-A3C3-BE1BAAAA6E6F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E-C368-44E2-A3C3-BE1BAAAA6E6F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F-C368-44E2-A3C3-BE1BAAAA6E6F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0-C368-44E2-A3C3-BE1BAAAA6E6F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1-C368-44E2-A3C3-BE1BAAAA6E6F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2-C368-44E2-A3C3-BE1BAAAA6E6F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3-C368-44E2-A3C3-BE1BAAAA6E6F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4-C368-44E2-A3C3-BE1BAAAA6E6F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5-C368-44E2-A3C3-BE1BAAAA6E6F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6-C368-44E2-A3C3-BE1BAAAA6E6F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7-C368-44E2-A3C3-BE1BAAAA6E6F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8-C368-44E2-A3C3-BE1BAAAA6E6F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9-C368-44E2-A3C3-BE1BAAAA6E6F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A-C368-44E2-A3C3-BE1BAAAA6E6F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B-C368-44E2-A3C3-BE1BAAAA6E6F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C-C368-44E2-A3C3-BE1BAAAA6E6F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D-C368-44E2-A3C3-BE1BAAAA6E6F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E-C368-44E2-A3C3-BE1BAAAA6E6F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F-C368-44E2-A3C3-BE1BAAAA6E6F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0-C368-44E2-A3C3-BE1BAAAA6E6F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1-C368-44E2-A3C3-BE1BAAAA6E6F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2-C368-44E2-A3C3-BE1BAAAA6E6F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3-C368-44E2-A3C3-BE1BAAAA6E6F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0.94376428571428606</c:v>
                </c:pt>
                <c:pt idx="1">
                  <c:v>0.99389285714285702</c:v>
                </c:pt>
                <c:pt idx="2">
                  <c:v>1.0033571428571399</c:v>
                </c:pt>
                <c:pt idx="3">
                  <c:v>0.98583571428571404</c:v>
                </c:pt>
                <c:pt idx="4">
                  <c:v>0.99937142857142902</c:v>
                </c:pt>
                <c:pt idx="5">
                  <c:v>1.01637857142857</c:v>
                </c:pt>
                <c:pt idx="6">
                  <c:v>0.98555000000000004</c:v>
                </c:pt>
                <c:pt idx="7">
                  <c:v>1.01313571428571</c:v>
                </c:pt>
                <c:pt idx="8">
                  <c:v>1.0133857142857099</c:v>
                </c:pt>
                <c:pt idx="9">
                  <c:v>0.99787142857142896</c:v>
                </c:pt>
                <c:pt idx="10">
                  <c:v>0.97978571428571404</c:v>
                </c:pt>
                <c:pt idx="11">
                  <c:v>0.989521428571429</c:v>
                </c:pt>
                <c:pt idx="12">
                  <c:v>1.00256428571429</c:v>
                </c:pt>
                <c:pt idx="13">
                  <c:v>1.0327357142857101</c:v>
                </c:pt>
                <c:pt idx="14">
                  <c:v>1.14975714285714</c:v>
                </c:pt>
                <c:pt idx="15">
                  <c:v>1.04165714285714</c:v>
                </c:pt>
                <c:pt idx="16">
                  <c:v>1.0752428571428601</c:v>
                </c:pt>
                <c:pt idx="17">
                  <c:v>1.0243357142857099</c:v>
                </c:pt>
                <c:pt idx="18">
                  <c:v>1.07239285714286</c:v>
                </c:pt>
                <c:pt idx="19">
                  <c:v>1.1152571428571401</c:v>
                </c:pt>
                <c:pt idx="20">
                  <c:v>1.1194428571428601</c:v>
                </c:pt>
                <c:pt idx="21">
                  <c:v>1.0166428571428601</c:v>
                </c:pt>
                <c:pt idx="22">
                  <c:v>1.0251285714285701</c:v>
                </c:pt>
                <c:pt idx="23">
                  <c:v>1.1785142857142901</c:v>
                </c:pt>
                <c:pt idx="24">
                  <c:v>1.1961999999999999</c:v>
                </c:pt>
                <c:pt idx="25">
                  <c:v>1.2050571428571399</c:v>
                </c:pt>
                <c:pt idx="26">
                  <c:v>1.63702142857143</c:v>
                </c:pt>
                <c:pt idx="27">
                  <c:v>1.35374285714286</c:v>
                </c:pt>
                <c:pt idx="28">
                  <c:v>1.19131428571429</c:v>
                </c:pt>
                <c:pt idx="29">
                  <c:v>1.1802071428571399</c:v>
                </c:pt>
                <c:pt idx="30">
                  <c:v>1.20084285714286</c:v>
                </c:pt>
                <c:pt idx="31">
                  <c:v>1.1601214285714301</c:v>
                </c:pt>
                <c:pt idx="32">
                  <c:v>1.14092142857143</c:v>
                </c:pt>
                <c:pt idx="33">
                  <c:v>1.10604285714286</c:v>
                </c:pt>
                <c:pt idx="34">
                  <c:v>1.0756928571428599</c:v>
                </c:pt>
                <c:pt idx="35">
                  <c:v>0.98800714285714297</c:v>
                </c:pt>
                <c:pt idx="36">
                  <c:v>1.06421428571429</c:v>
                </c:pt>
                <c:pt idx="37">
                  <c:v>1.0492285714285701</c:v>
                </c:pt>
                <c:pt idx="38">
                  <c:v>1.08165</c:v>
                </c:pt>
                <c:pt idx="39">
                  <c:v>1.06727142857143</c:v>
                </c:pt>
                <c:pt idx="40">
                  <c:v>1.06593571428571</c:v>
                </c:pt>
                <c:pt idx="41">
                  <c:v>1.1246642857142899</c:v>
                </c:pt>
                <c:pt idx="42">
                  <c:v>1.12253571428571</c:v>
                </c:pt>
                <c:pt idx="43">
                  <c:v>1.0155571428571399</c:v>
                </c:pt>
                <c:pt idx="44">
                  <c:v>1.03332857142857</c:v>
                </c:pt>
                <c:pt idx="45">
                  <c:v>1.10136428571429</c:v>
                </c:pt>
                <c:pt idx="46">
                  <c:v>1.0599571428571399</c:v>
                </c:pt>
                <c:pt idx="47">
                  <c:v>1.00457857142857</c:v>
                </c:pt>
                <c:pt idx="48">
                  <c:v>1.0017785714285701</c:v>
                </c:pt>
                <c:pt idx="49">
                  <c:v>0.88849999999999996</c:v>
                </c:pt>
                <c:pt idx="50">
                  <c:v>0.95778571428571402</c:v>
                </c:pt>
                <c:pt idx="51">
                  <c:v>0.94534285714285704</c:v>
                </c:pt>
                <c:pt idx="52">
                  <c:v>0.92121428571428599</c:v>
                </c:pt>
                <c:pt idx="53">
                  <c:v>0.919483333333332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A4-C368-44E2-A3C3-BE1BAAAA6E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.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57322175732216E-2"/>
          <c:y val="5.7585825027685493E-2"/>
          <c:w val="0.95648535564853554"/>
          <c:h val="0.884828349944629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.7094017094017101E-3</c:v>
                </c:pt>
                <c:pt idx="1">
                  <c:v>1.79080179080179E-3</c:v>
                </c:pt>
                <c:pt idx="2">
                  <c:v>1.6280016280016301E-3</c:v>
                </c:pt>
                <c:pt idx="3">
                  <c:v>1.03106769773436E-3</c:v>
                </c:pt>
                <c:pt idx="4">
                  <c:v>1.68226834893502E-3</c:v>
                </c:pt>
                <c:pt idx="5">
                  <c:v>2.2249355582688898E-3</c:v>
                </c:pt>
                <c:pt idx="6">
                  <c:v>1.35666802333469E-3</c:v>
                </c:pt>
                <c:pt idx="7">
                  <c:v>1.2210012210012199E-3</c:v>
                </c:pt>
                <c:pt idx="8">
                  <c:v>1.57373490706824E-3</c:v>
                </c:pt>
                <c:pt idx="9">
                  <c:v>7.8686745353412E-4</c:v>
                </c:pt>
                <c:pt idx="10">
                  <c:v>8.1400081400081396E-4</c:v>
                </c:pt>
                <c:pt idx="11">
                  <c:v>1.3295346628679999E-3</c:v>
                </c:pt>
                <c:pt idx="12">
                  <c:v>1.16673450006783E-3</c:v>
                </c:pt>
                <c:pt idx="13">
                  <c:v>1.1938678605345301E-3</c:v>
                </c:pt>
                <c:pt idx="14">
                  <c:v>1.05820105820106E-3</c:v>
                </c:pt>
                <c:pt idx="15">
                  <c:v>9.7680097680097702E-4</c:v>
                </c:pt>
                <c:pt idx="16">
                  <c:v>7.5973409306742603E-4</c:v>
                </c:pt>
                <c:pt idx="17">
                  <c:v>3.3102699769366399E-3</c:v>
                </c:pt>
                <c:pt idx="18">
                  <c:v>2.4962691629358299E-3</c:v>
                </c:pt>
                <c:pt idx="19">
                  <c:v>2.9575362908696198E-3</c:v>
                </c:pt>
                <c:pt idx="20">
                  <c:v>1.7094017094017101E-3</c:v>
                </c:pt>
                <c:pt idx="21">
                  <c:v>2.3606023606023599E-3</c:v>
                </c:pt>
                <c:pt idx="22">
                  <c:v>2.1978021978022E-3</c:v>
                </c:pt>
                <c:pt idx="23">
                  <c:v>1.7365350698683999E-3</c:v>
                </c:pt>
                <c:pt idx="24">
                  <c:v>5.1553384886718198E-3</c:v>
                </c:pt>
                <c:pt idx="25">
                  <c:v>1.09618776285443E-2</c:v>
                </c:pt>
                <c:pt idx="26">
                  <c:v>0.204422737756071</c:v>
                </c:pt>
                <c:pt idx="27">
                  <c:v>0.15826889160222499</c:v>
                </c:pt>
                <c:pt idx="28">
                  <c:v>3.8854972188305498E-2</c:v>
                </c:pt>
                <c:pt idx="29">
                  <c:v>4.0645773979107298E-2</c:v>
                </c:pt>
                <c:pt idx="30">
                  <c:v>8.0450413783747093E-2</c:v>
                </c:pt>
                <c:pt idx="31">
                  <c:v>5.3534120200786899E-2</c:v>
                </c:pt>
                <c:pt idx="32">
                  <c:v>4.9599782933116301E-2</c:v>
                </c:pt>
                <c:pt idx="33">
                  <c:v>3.1610364943698302E-2</c:v>
                </c:pt>
                <c:pt idx="34">
                  <c:v>4.1975308641975302E-2</c:v>
                </c:pt>
                <c:pt idx="35">
                  <c:v>2.36874236874237E-2</c:v>
                </c:pt>
                <c:pt idx="36">
                  <c:v>2.75674942341609E-2</c:v>
                </c:pt>
                <c:pt idx="37">
                  <c:v>2.6075159408492699E-2</c:v>
                </c:pt>
                <c:pt idx="38">
                  <c:v>1.1504544837878199E-2</c:v>
                </c:pt>
                <c:pt idx="39">
                  <c:v>1.8776285442952099E-2</c:v>
                </c:pt>
                <c:pt idx="40">
                  <c:v>1.3186813186813201E-2</c:v>
                </c:pt>
                <c:pt idx="41">
                  <c:v>1.11246777913445E-2</c:v>
                </c:pt>
                <c:pt idx="42">
                  <c:v>1.27255460588794E-2</c:v>
                </c:pt>
                <c:pt idx="43">
                  <c:v>1.5818749152082499E-2</c:v>
                </c:pt>
                <c:pt idx="44">
                  <c:v>3.3401166734500103E-2</c:v>
                </c:pt>
                <c:pt idx="45">
                  <c:v>3.2967032967033003E-2</c:v>
                </c:pt>
                <c:pt idx="46">
                  <c:v>1.5574548907882201E-2</c:v>
                </c:pt>
                <c:pt idx="47">
                  <c:v>1.02564102564103E-2</c:v>
                </c:pt>
                <c:pt idx="48">
                  <c:v>1.31054131054131E-2</c:v>
                </c:pt>
                <c:pt idx="49">
                  <c:v>1.00936100936101E-2</c:v>
                </c:pt>
                <c:pt idx="50">
                  <c:v>1.1694478361145001E-2</c:v>
                </c:pt>
                <c:pt idx="51">
                  <c:v>8.9811423144756496E-3</c:v>
                </c:pt>
                <c:pt idx="52">
                  <c:v>8.0857414190747493E-3</c:v>
                </c:pt>
                <c:pt idx="53">
                  <c:v>5.2548274770497002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F16-4002-935C-39E9442DBB70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2.53968253968254E-2</c:v>
                </c:pt>
                <c:pt idx="1">
                  <c:v>2.2602089268755898E-2</c:v>
                </c:pt>
                <c:pt idx="2">
                  <c:v>2.2466422466422501E-2</c:v>
                </c:pt>
                <c:pt idx="3">
                  <c:v>2.15167548500882E-2</c:v>
                </c:pt>
                <c:pt idx="4">
                  <c:v>2.1652421652421702E-2</c:v>
                </c:pt>
                <c:pt idx="5">
                  <c:v>1.97530864197531E-2</c:v>
                </c:pt>
                <c:pt idx="6">
                  <c:v>1.67412834079501E-2</c:v>
                </c:pt>
                <c:pt idx="7">
                  <c:v>2.01600868267535E-2</c:v>
                </c:pt>
                <c:pt idx="8">
                  <c:v>1.8532085198751901E-2</c:v>
                </c:pt>
                <c:pt idx="9">
                  <c:v>1.7094017094017099E-2</c:v>
                </c:pt>
                <c:pt idx="10">
                  <c:v>1.8097951431284801E-2</c:v>
                </c:pt>
                <c:pt idx="11">
                  <c:v>1.8342151675484999E-2</c:v>
                </c:pt>
                <c:pt idx="12">
                  <c:v>1.8993352326685701E-2</c:v>
                </c:pt>
                <c:pt idx="13">
                  <c:v>1.97530864197531E-2</c:v>
                </c:pt>
                <c:pt idx="14">
                  <c:v>1.97530864197531E-2</c:v>
                </c:pt>
                <c:pt idx="15">
                  <c:v>2.0892687559354198E-2</c:v>
                </c:pt>
                <c:pt idx="16">
                  <c:v>2.3144756478089799E-2</c:v>
                </c:pt>
                <c:pt idx="17">
                  <c:v>2.1381088047754699E-2</c:v>
                </c:pt>
                <c:pt idx="18">
                  <c:v>2.4365757699090999E-2</c:v>
                </c:pt>
                <c:pt idx="19">
                  <c:v>2.40401573734907E-2</c:v>
                </c:pt>
                <c:pt idx="20">
                  <c:v>2.8354361687695E-2</c:v>
                </c:pt>
                <c:pt idx="21">
                  <c:v>2.7241893908560601E-2</c:v>
                </c:pt>
                <c:pt idx="22">
                  <c:v>2.9412562745896102E-2</c:v>
                </c:pt>
                <c:pt idx="23">
                  <c:v>3.1094831094831101E-2</c:v>
                </c:pt>
                <c:pt idx="24">
                  <c:v>3.6358703025369699E-2</c:v>
                </c:pt>
                <c:pt idx="25">
                  <c:v>4.6615113281779898E-2</c:v>
                </c:pt>
                <c:pt idx="26">
                  <c:v>0.16410256410256399</c:v>
                </c:pt>
                <c:pt idx="27">
                  <c:v>0.180952380952381</c:v>
                </c:pt>
                <c:pt idx="28">
                  <c:v>0.15816035816035801</c:v>
                </c:pt>
                <c:pt idx="29">
                  <c:v>0.15691222357889001</c:v>
                </c:pt>
                <c:pt idx="30">
                  <c:v>0.17946004612671301</c:v>
                </c:pt>
                <c:pt idx="31">
                  <c:v>0.18692172025505399</c:v>
                </c:pt>
                <c:pt idx="32">
                  <c:v>0.20301180301180299</c:v>
                </c:pt>
                <c:pt idx="33">
                  <c:v>0.21041921041921</c:v>
                </c:pt>
                <c:pt idx="34">
                  <c:v>0.20651200651200699</c:v>
                </c:pt>
                <c:pt idx="35">
                  <c:v>0.177642110975444</c:v>
                </c:pt>
                <c:pt idx="36">
                  <c:v>0.19842626509293201</c:v>
                </c:pt>
                <c:pt idx="37">
                  <c:v>0.21022927689594401</c:v>
                </c:pt>
                <c:pt idx="38">
                  <c:v>0.26430606430606401</c:v>
                </c:pt>
                <c:pt idx="39">
                  <c:v>0.24951838285171599</c:v>
                </c:pt>
                <c:pt idx="40">
                  <c:v>0.247456247456247</c:v>
                </c:pt>
                <c:pt idx="41">
                  <c:v>0.268593135259802</c:v>
                </c:pt>
                <c:pt idx="42">
                  <c:v>0.27950074616741299</c:v>
                </c:pt>
                <c:pt idx="43">
                  <c:v>0.26330212996879698</c:v>
                </c:pt>
                <c:pt idx="44">
                  <c:v>0.24921991588658299</c:v>
                </c:pt>
                <c:pt idx="45">
                  <c:v>0.26853886853886899</c:v>
                </c:pt>
                <c:pt idx="46">
                  <c:v>0.255080721747388</c:v>
                </c:pt>
                <c:pt idx="47">
                  <c:v>0.24216524216524199</c:v>
                </c:pt>
                <c:pt idx="48">
                  <c:v>0.21964455297788599</c:v>
                </c:pt>
                <c:pt idx="49">
                  <c:v>0.195387328720662</c:v>
                </c:pt>
                <c:pt idx="50">
                  <c:v>0.20105820105820099</c:v>
                </c:pt>
                <c:pt idx="51">
                  <c:v>0.197313797313797</c:v>
                </c:pt>
                <c:pt idx="52">
                  <c:v>0.17408764075430699</c:v>
                </c:pt>
                <c:pt idx="53">
                  <c:v>0.1678379233934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5F16-4002-935C-39E9442DBB70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2.71062271062271E-2</c:v>
                </c:pt>
                <c:pt idx="1">
                  <c:v>2.4392891059557699E-2</c:v>
                </c:pt>
                <c:pt idx="2">
                  <c:v>2.40944240944241E-2</c:v>
                </c:pt>
                <c:pt idx="3">
                  <c:v>2.2547822547822501E-2</c:v>
                </c:pt>
                <c:pt idx="4">
                  <c:v>2.3334690001356701E-2</c:v>
                </c:pt>
                <c:pt idx="5">
                  <c:v>2.1978021978022001E-2</c:v>
                </c:pt>
                <c:pt idx="6">
                  <c:v>1.8097951431284801E-2</c:v>
                </c:pt>
                <c:pt idx="7">
                  <c:v>2.1381088047754699E-2</c:v>
                </c:pt>
                <c:pt idx="8">
                  <c:v>2.0105820105820099E-2</c:v>
                </c:pt>
                <c:pt idx="9">
                  <c:v>1.7880884547551198E-2</c:v>
                </c:pt>
                <c:pt idx="10">
                  <c:v>1.89119522452856E-2</c:v>
                </c:pt>
                <c:pt idx="11">
                  <c:v>1.9671686338352999E-2</c:v>
                </c:pt>
                <c:pt idx="12">
                  <c:v>2.01600868267535E-2</c:v>
                </c:pt>
                <c:pt idx="13">
                  <c:v>2.0946954280287599E-2</c:v>
                </c:pt>
                <c:pt idx="14">
                  <c:v>2.0811287477954101E-2</c:v>
                </c:pt>
                <c:pt idx="15">
                  <c:v>2.18694885361552E-2</c:v>
                </c:pt>
                <c:pt idx="16">
                  <c:v>2.3904490571157198E-2</c:v>
                </c:pt>
                <c:pt idx="17">
                  <c:v>2.4691358024691398E-2</c:v>
                </c:pt>
                <c:pt idx="18">
                  <c:v>2.6862026862026898E-2</c:v>
                </c:pt>
                <c:pt idx="19">
                  <c:v>2.6997693664360299E-2</c:v>
                </c:pt>
                <c:pt idx="20">
                  <c:v>3.00637633970967E-2</c:v>
                </c:pt>
                <c:pt idx="21">
                  <c:v>2.9602496269162899E-2</c:v>
                </c:pt>
                <c:pt idx="22">
                  <c:v>3.1610364943698302E-2</c:v>
                </c:pt>
                <c:pt idx="23">
                  <c:v>3.2831366164699498E-2</c:v>
                </c:pt>
                <c:pt idx="24">
                  <c:v>4.1514041514041498E-2</c:v>
                </c:pt>
                <c:pt idx="25">
                  <c:v>5.7576990910324199E-2</c:v>
                </c:pt>
                <c:pt idx="26">
                  <c:v>0.36852530185863502</c:v>
                </c:pt>
                <c:pt idx="27">
                  <c:v>0.33922127255460599</c:v>
                </c:pt>
                <c:pt idx="28">
                  <c:v>0.197015330348664</c:v>
                </c:pt>
                <c:pt idx="29">
                  <c:v>0.19755799755799799</c:v>
                </c:pt>
                <c:pt idx="30">
                  <c:v>0.25991045991046002</c:v>
                </c:pt>
                <c:pt idx="31">
                  <c:v>0.24045584045584001</c:v>
                </c:pt>
                <c:pt idx="32">
                  <c:v>0.252611585944919</c:v>
                </c:pt>
                <c:pt idx="33">
                  <c:v>0.24202957536290901</c:v>
                </c:pt>
                <c:pt idx="34">
                  <c:v>0.24848731515398201</c:v>
                </c:pt>
                <c:pt idx="35">
                  <c:v>0.20132953466286799</c:v>
                </c:pt>
                <c:pt idx="36">
                  <c:v>0.22599375932709301</c:v>
                </c:pt>
                <c:pt idx="37">
                  <c:v>0.23630443630443601</c:v>
                </c:pt>
                <c:pt idx="38">
                  <c:v>0.27581060914394201</c:v>
                </c:pt>
                <c:pt idx="39">
                  <c:v>0.26829466829466803</c:v>
                </c:pt>
                <c:pt idx="40">
                  <c:v>0.26064306064306098</c:v>
                </c:pt>
                <c:pt idx="41">
                  <c:v>0.27971781305114601</c:v>
                </c:pt>
                <c:pt idx="42">
                  <c:v>0.29222629222629198</c:v>
                </c:pt>
                <c:pt idx="43">
                  <c:v>0.27912087912087902</c:v>
                </c:pt>
                <c:pt idx="44">
                  <c:v>0.28262108262108299</c:v>
                </c:pt>
                <c:pt idx="45">
                  <c:v>0.30150590150590201</c:v>
                </c:pt>
                <c:pt idx="46">
                  <c:v>0.27065527065527101</c:v>
                </c:pt>
                <c:pt idx="47">
                  <c:v>0.25242165242165199</c:v>
                </c:pt>
                <c:pt idx="48">
                  <c:v>0.23274996608329901</c:v>
                </c:pt>
                <c:pt idx="49">
                  <c:v>0.20548093881427201</c:v>
                </c:pt>
                <c:pt idx="50">
                  <c:v>0.212752679419346</c:v>
                </c:pt>
                <c:pt idx="51">
                  <c:v>0.206294939628273</c:v>
                </c:pt>
                <c:pt idx="52">
                  <c:v>0.182173382173382</c:v>
                </c:pt>
                <c:pt idx="53">
                  <c:v>0.17309275087052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5F16-4002-935C-39E9442DBB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7000000000000000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57322175732216E-2"/>
          <c:y val="5.7522123893805309E-2"/>
          <c:w val="0.95648535564853554"/>
          <c:h val="0.88495575221238942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2.18507878471315E-2</c:v>
                </c:pt>
                <c:pt idx="1">
                  <c:v>2.2605263921534498E-2</c:v>
                </c:pt>
                <c:pt idx="2">
                  <c:v>1.8020370854008899E-2</c:v>
                </c:pt>
                <c:pt idx="3">
                  <c:v>1.5060503177505E-2</c:v>
                </c:pt>
                <c:pt idx="4">
                  <c:v>1.7817242680131198E-2</c:v>
                </c:pt>
                <c:pt idx="5">
                  <c:v>2.9830823249470399E-2</c:v>
                </c:pt>
                <c:pt idx="6">
                  <c:v>1.38417341342387E-2</c:v>
                </c:pt>
                <c:pt idx="7">
                  <c:v>1.76141145062534E-2</c:v>
                </c:pt>
                <c:pt idx="8">
                  <c:v>1.63373088418792E-2</c:v>
                </c:pt>
                <c:pt idx="9">
                  <c:v>1.45381735875337E-2</c:v>
                </c:pt>
                <c:pt idx="10">
                  <c:v>1.09108847682888E-2</c:v>
                </c:pt>
                <c:pt idx="11">
                  <c:v>1.26810017120803E-2</c:v>
                </c:pt>
                <c:pt idx="12">
                  <c:v>1.3232349612605601E-2</c:v>
                </c:pt>
                <c:pt idx="13">
                  <c:v>1.4915411624735199E-2</c:v>
                </c:pt>
                <c:pt idx="14">
                  <c:v>1.3609587649806999E-2</c:v>
                </c:pt>
                <c:pt idx="15">
                  <c:v>2.3591886480369102E-2</c:v>
                </c:pt>
                <c:pt idx="16">
                  <c:v>1.9181103276167299E-2</c:v>
                </c:pt>
                <c:pt idx="17">
                  <c:v>3.1978178230463401E-2</c:v>
                </c:pt>
                <c:pt idx="18">
                  <c:v>3.4763936043643501E-2</c:v>
                </c:pt>
                <c:pt idx="19">
                  <c:v>2.20248977104553E-2</c:v>
                </c:pt>
                <c:pt idx="20">
                  <c:v>2.1328458257160302E-2</c:v>
                </c:pt>
                <c:pt idx="21">
                  <c:v>1.94132497605989E-2</c:v>
                </c:pt>
                <c:pt idx="22">
                  <c:v>2.0951220219958801E-2</c:v>
                </c:pt>
                <c:pt idx="23">
                  <c:v>2.2082934331563199E-2</c:v>
                </c:pt>
                <c:pt idx="24">
                  <c:v>4.4368996837004099E-2</c:v>
                </c:pt>
                <c:pt idx="25">
                  <c:v>9.0595165549461704E-2</c:v>
                </c:pt>
                <c:pt idx="26">
                  <c:v>0.47752531847595803</c:v>
                </c:pt>
                <c:pt idx="27">
                  <c:v>0.21241403325498401</c:v>
                </c:pt>
                <c:pt idx="28">
                  <c:v>6.9760018571718693E-2</c:v>
                </c:pt>
                <c:pt idx="29">
                  <c:v>5.38579843881489E-2</c:v>
                </c:pt>
                <c:pt idx="30">
                  <c:v>0.11656655349525601</c:v>
                </c:pt>
                <c:pt idx="31">
                  <c:v>8.6561620382461305E-2</c:v>
                </c:pt>
                <c:pt idx="32">
                  <c:v>0.11035663503670801</c:v>
                </c:pt>
                <c:pt idx="33">
                  <c:v>7.0398421403905898E-2</c:v>
                </c:pt>
                <c:pt idx="34">
                  <c:v>5.65566872696672E-2</c:v>
                </c:pt>
                <c:pt idx="35">
                  <c:v>2.9424566901715E-2</c:v>
                </c:pt>
                <c:pt idx="36">
                  <c:v>2.63486259829953E-2</c:v>
                </c:pt>
                <c:pt idx="37">
                  <c:v>2.9627695075592701E-2</c:v>
                </c:pt>
                <c:pt idx="38">
                  <c:v>1.4277008792548101E-2</c:v>
                </c:pt>
                <c:pt idx="39">
                  <c:v>1.7556077885145498E-2</c:v>
                </c:pt>
                <c:pt idx="40">
                  <c:v>1.27680566437422E-2</c:v>
                </c:pt>
                <c:pt idx="41">
                  <c:v>9.3438959983749691E-3</c:v>
                </c:pt>
                <c:pt idx="42">
                  <c:v>9.4889875511447695E-3</c:v>
                </c:pt>
                <c:pt idx="43">
                  <c:v>1.4364063724210001E-2</c:v>
                </c:pt>
                <c:pt idx="44">
                  <c:v>2.6928992194074498E-2</c:v>
                </c:pt>
                <c:pt idx="45">
                  <c:v>3.7636748788485497E-2</c:v>
                </c:pt>
                <c:pt idx="46">
                  <c:v>2.2518208989872598E-2</c:v>
                </c:pt>
                <c:pt idx="47">
                  <c:v>1.6279272220771301E-2</c:v>
                </c:pt>
                <c:pt idx="48">
                  <c:v>1.31743129914976E-2</c:v>
                </c:pt>
                <c:pt idx="49">
                  <c:v>9.7791706566843703E-3</c:v>
                </c:pt>
                <c:pt idx="50">
                  <c:v>1.15783059110299E-2</c:v>
                </c:pt>
                <c:pt idx="51">
                  <c:v>1.15492876004759E-2</c:v>
                </c:pt>
                <c:pt idx="52">
                  <c:v>1.0127390383331899E-2</c:v>
                </c:pt>
                <c:pt idx="53">
                  <c:v>8.1928363464012499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AEE-44BB-95DD-3E84C43B399C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0.45689329967209302</c:v>
                </c:pt>
                <c:pt idx="1">
                  <c:v>0.47090914366965603</c:v>
                </c:pt>
                <c:pt idx="2">
                  <c:v>0.431763442732364</c:v>
                </c:pt>
                <c:pt idx="3">
                  <c:v>0.44409622471779697</c:v>
                </c:pt>
                <c:pt idx="4">
                  <c:v>0.44572125010881902</c:v>
                </c:pt>
                <c:pt idx="5">
                  <c:v>0.44209396128957401</c:v>
                </c:pt>
                <c:pt idx="6">
                  <c:v>0.41841501987754298</c:v>
                </c:pt>
                <c:pt idx="7">
                  <c:v>0.44862308116421501</c:v>
                </c:pt>
                <c:pt idx="8">
                  <c:v>0.43066074693131401</c:v>
                </c:pt>
                <c:pt idx="9">
                  <c:v>0.42407359043556497</c:v>
                </c:pt>
                <c:pt idx="10">
                  <c:v>0.424886103131076</c:v>
                </c:pt>
                <c:pt idx="11">
                  <c:v>0.42352224253504001</c:v>
                </c:pt>
                <c:pt idx="12">
                  <c:v>0.43495545689330001</c:v>
                </c:pt>
                <c:pt idx="13">
                  <c:v>0.45387539537448102</c:v>
                </c:pt>
                <c:pt idx="14">
                  <c:v>0.48077536925800202</c:v>
                </c:pt>
                <c:pt idx="15">
                  <c:v>0.46429296886335297</c:v>
                </c:pt>
                <c:pt idx="16">
                  <c:v>0.4803981312208</c:v>
                </c:pt>
                <c:pt idx="17">
                  <c:v>0.46255187023011501</c:v>
                </c:pt>
                <c:pt idx="18">
                  <c:v>0.46258088854066898</c:v>
                </c:pt>
                <c:pt idx="19">
                  <c:v>0.509793679811961</c:v>
                </c:pt>
                <c:pt idx="20">
                  <c:v>0.51150576013464499</c:v>
                </c:pt>
                <c:pt idx="21">
                  <c:v>0.48010794811526097</c:v>
                </c:pt>
                <c:pt idx="22">
                  <c:v>0.47900525231420998</c:v>
                </c:pt>
                <c:pt idx="23">
                  <c:v>0.54757552015321698</c:v>
                </c:pt>
                <c:pt idx="24">
                  <c:v>0.57778358143988895</c:v>
                </c:pt>
                <c:pt idx="25">
                  <c:v>0.58106265053248596</c:v>
                </c:pt>
                <c:pt idx="26">
                  <c:v>0.65236063956356505</c:v>
                </c:pt>
                <c:pt idx="27">
                  <c:v>0.64316183511795899</c:v>
                </c:pt>
                <c:pt idx="28">
                  <c:v>0.62064362612808699</c:v>
                </c:pt>
                <c:pt idx="29">
                  <c:v>0.63254113345521001</c:v>
                </c:pt>
                <c:pt idx="30">
                  <c:v>0.63436928702010997</c:v>
                </c:pt>
                <c:pt idx="31">
                  <c:v>0.66298134122631402</c:v>
                </c:pt>
                <c:pt idx="32">
                  <c:v>0.60758538637880499</c:v>
                </c:pt>
                <c:pt idx="33">
                  <c:v>0.60775949624212899</c:v>
                </c:pt>
                <c:pt idx="34">
                  <c:v>0.61901860073706505</c:v>
                </c:pt>
                <c:pt idx="35">
                  <c:v>0.60497373842894897</c:v>
                </c:pt>
                <c:pt idx="36">
                  <c:v>0.66025362003424204</c:v>
                </c:pt>
                <c:pt idx="37">
                  <c:v>0.65740982559995398</c:v>
                </c:pt>
                <c:pt idx="38">
                  <c:v>0.65082266910420505</c:v>
                </c:pt>
                <c:pt idx="39">
                  <c:v>0.68552856852674005</c:v>
                </c:pt>
                <c:pt idx="40">
                  <c:v>0.66832071036824203</c:v>
                </c:pt>
                <c:pt idx="41">
                  <c:v>0.66216882853080306</c:v>
                </c:pt>
                <c:pt idx="42">
                  <c:v>0.66390992716404096</c:v>
                </c:pt>
                <c:pt idx="43">
                  <c:v>0.61135776675081999</c:v>
                </c:pt>
                <c:pt idx="44">
                  <c:v>0.61768375845158296</c:v>
                </c:pt>
                <c:pt idx="45">
                  <c:v>0.644032384434578</c:v>
                </c:pt>
                <c:pt idx="46">
                  <c:v>0.60593134267722903</c:v>
                </c:pt>
                <c:pt idx="47">
                  <c:v>0.60601839760889098</c:v>
                </c:pt>
                <c:pt idx="48">
                  <c:v>0.61922172891094296</c:v>
                </c:pt>
                <c:pt idx="49">
                  <c:v>0.54513798206668396</c:v>
                </c:pt>
                <c:pt idx="50">
                  <c:v>0.58315196889237098</c:v>
                </c:pt>
                <c:pt idx="51">
                  <c:v>0.590058326804213</c:v>
                </c:pt>
                <c:pt idx="52">
                  <c:v>0.56724993470880103</c:v>
                </c:pt>
                <c:pt idx="53">
                  <c:v>0.573430834856795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AEE-44BB-95DD-3E84C43B399C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0.47874408751922498</c:v>
                </c:pt>
                <c:pt idx="1">
                  <c:v>0.49351440759118997</c:v>
                </c:pt>
                <c:pt idx="2">
                  <c:v>0.44978381358637298</c:v>
                </c:pt>
                <c:pt idx="3">
                  <c:v>0.45915672789530199</c:v>
                </c:pt>
                <c:pt idx="4">
                  <c:v>0.46353849278894999</c:v>
                </c:pt>
                <c:pt idx="5">
                  <c:v>0.47192478453904402</c:v>
                </c:pt>
                <c:pt idx="6">
                  <c:v>0.43225675401178099</c:v>
                </c:pt>
                <c:pt idx="7">
                  <c:v>0.46623719567046801</c:v>
                </c:pt>
                <c:pt idx="8">
                  <c:v>0.44699805577319301</c:v>
                </c:pt>
                <c:pt idx="9">
                  <c:v>0.43861176402309898</c:v>
                </c:pt>
                <c:pt idx="10">
                  <c:v>0.435796987899364</c:v>
                </c:pt>
                <c:pt idx="11">
                  <c:v>0.43620324424711998</c:v>
                </c:pt>
                <c:pt idx="12">
                  <c:v>0.44818780650590501</c:v>
                </c:pt>
                <c:pt idx="13">
                  <c:v>0.46879080699921599</c:v>
                </c:pt>
                <c:pt idx="14">
                  <c:v>0.49438495690780898</c:v>
                </c:pt>
                <c:pt idx="15">
                  <c:v>0.487884855343722</c:v>
                </c:pt>
                <c:pt idx="16">
                  <c:v>0.49957923449696801</c:v>
                </c:pt>
                <c:pt idx="17">
                  <c:v>0.49453004846057902</c:v>
                </c:pt>
                <c:pt idx="18">
                  <c:v>0.49734482458431301</c:v>
                </c:pt>
                <c:pt idx="19">
                  <c:v>0.53181857752241701</c:v>
                </c:pt>
                <c:pt idx="20">
                  <c:v>0.532834218391805</c:v>
                </c:pt>
                <c:pt idx="21">
                  <c:v>0.49952119787586002</c:v>
                </c:pt>
                <c:pt idx="22">
                  <c:v>0.49995647253416903</c:v>
                </c:pt>
                <c:pt idx="23">
                  <c:v>0.56965845448478003</c:v>
                </c:pt>
                <c:pt idx="24">
                  <c:v>0.62215257827689296</c:v>
                </c:pt>
                <c:pt idx="25">
                  <c:v>0.67165781608194797</c:v>
                </c:pt>
                <c:pt idx="26">
                  <c:v>1.12988595803952</c:v>
                </c:pt>
                <c:pt idx="27">
                  <c:v>0.85557586837294297</c:v>
                </c:pt>
                <c:pt idx="28">
                  <c:v>0.69040364469980597</c:v>
                </c:pt>
                <c:pt idx="29">
                  <c:v>0.68639911784335905</c:v>
                </c:pt>
                <c:pt idx="30">
                  <c:v>0.75093584051536499</c:v>
                </c:pt>
                <c:pt idx="31">
                  <c:v>0.74954296160877498</c:v>
                </c:pt>
                <c:pt idx="32">
                  <c:v>0.717942021415513</c:v>
                </c:pt>
                <c:pt idx="33">
                  <c:v>0.67815791764603495</c:v>
                </c:pt>
                <c:pt idx="34">
                  <c:v>0.67557528800673206</c:v>
                </c:pt>
                <c:pt idx="35">
                  <c:v>0.63439830533066399</c:v>
                </c:pt>
                <c:pt idx="36">
                  <c:v>0.68660224601723696</c:v>
                </c:pt>
                <c:pt idx="37">
                  <c:v>0.68703752067554602</c:v>
                </c:pt>
                <c:pt idx="38">
                  <c:v>0.66509967789675295</c:v>
                </c:pt>
                <c:pt idx="39">
                  <c:v>0.70308464641188595</c:v>
                </c:pt>
                <c:pt idx="40">
                  <c:v>0.68108876701198495</c:v>
                </c:pt>
                <c:pt idx="41">
                  <c:v>0.67151272452917798</c:v>
                </c:pt>
                <c:pt idx="42">
                  <c:v>0.67339891471518498</c:v>
                </c:pt>
                <c:pt idx="43">
                  <c:v>0.62572183047503005</c:v>
                </c:pt>
                <c:pt idx="44">
                  <c:v>0.64461275064565704</c:v>
                </c:pt>
                <c:pt idx="45">
                  <c:v>0.68166913322306399</c:v>
                </c:pt>
                <c:pt idx="46">
                  <c:v>0.62844955166710204</c:v>
                </c:pt>
                <c:pt idx="47">
                  <c:v>0.62229766982966295</c:v>
                </c:pt>
                <c:pt idx="48">
                  <c:v>0.63239604190244003</c:v>
                </c:pt>
                <c:pt idx="49">
                  <c:v>0.55491715272336894</c:v>
                </c:pt>
                <c:pt idx="50">
                  <c:v>0.59473027480340102</c:v>
                </c:pt>
                <c:pt idx="51">
                  <c:v>0.60160761440468902</c:v>
                </c:pt>
                <c:pt idx="52">
                  <c:v>0.57737732509213302</c:v>
                </c:pt>
                <c:pt idx="53">
                  <c:v>0.581623671203196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AEE-44BB-95DD-3E84C43B39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.200000000000000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94F22F-09A4-AA43-BCAE-8C7EF59ACBB1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4A469D-1275-E745-946B-BAB1C8468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37946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AD0B1C-0795-194F-A976-DDDFE1ABFB39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D13A43-2FBB-B748-B72F-928A0DE97F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642221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peaker: Vitoria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5D0D3C-61F6-5B7C-0B42-DD7D8A177C3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2269389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peaker: Micha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9863DB-4214-DCED-366A-D5205D04AE1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13112536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: Michael</a:t>
            </a:r>
          </a:p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501FF3-67FC-F0F6-0B41-D742831BBB3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41307474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: Vangelis</a:t>
            </a:r>
          </a:p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2BB226-48F5-52FF-1171-38BD93E364F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1981639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90342B-F056-ADC7-B6D8-A539B0173A5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23144259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>
                <a:solidFill>
                  <a:srgbClr val="000000"/>
                </a:solidFill>
                <a:ea typeface="Tahoma"/>
                <a:cs typeface="Tahoma"/>
              </a:rPr>
              <a:t>Is the difference in pre and post equilibrium statistically significant? Yes.</a:t>
            </a:r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949043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58481A-3353-F218-AD8B-8D572D0C5FA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32340753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HOUT OUT TO AARON AND HIS BABY AND DATA TEA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: Vangelis</a:t>
            </a:r>
          </a:p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67BFCA-C007-819F-A9AF-CCA2D15EAC2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27393854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: Vangelis</a:t>
            </a:r>
          </a:p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C68861-5E4C-5AF1-34C6-652FF5E82AF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4267685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499132"/>
            <a:ext cx="7772400" cy="1201856"/>
          </a:xfrm>
        </p:spPr>
        <p:txBody>
          <a:bodyPr anchor="t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4447" y="4091378"/>
            <a:ext cx="4477626" cy="918772"/>
          </a:xfrm>
        </p:spPr>
        <p:txBody>
          <a:bodyPr numCol="2">
            <a:noAutofit/>
          </a:bodyPr>
          <a:lstStyle>
            <a:lvl1pPr marL="0" indent="0" algn="l">
              <a:buNone/>
              <a:defRPr sz="1000" b="1">
                <a:solidFill>
                  <a:schemeClr val="accent5"/>
                </a:solidFill>
              </a:defRPr>
            </a:lvl1pPr>
            <a:lvl2pPr marL="0" indent="0" algn="l">
              <a:buNone/>
              <a:defRPr sz="1000">
                <a:solidFill>
                  <a:srgbClr val="3D505A"/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</a:t>
            </a:r>
          </a:p>
          <a:p>
            <a:pPr lvl="1"/>
            <a:r>
              <a:rPr lang="en-US"/>
              <a:t>Title, Company</a:t>
            </a:r>
          </a:p>
          <a:p>
            <a:pPr lvl="1"/>
            <a:r>
              <a:rPr lang="en-US"/>
              <a:t>Email</a:t>
            </a:r>
          </a:p>
          <a:p>
            <a:pPr lvl="1"/>
            <a:r>
              <a:rPr lang="en-US"/>
              <a:t>Phone</a:t>
            </a:r>
          </a:p>
          <a:p>
            <a:r>
              <a:rPr lang="en-US"/>
              <a:t>NAME</a:t>
            </a:r>
          </a:p>
          <a:p>
            <a:pPr lvl="1"/>
            <a:r>
              <a:rPr lang="en-US"/>
              <a:t>Title, Company</a:t>
            </a:r>
          </a:p>
          <a:p>
            <a:pPr lvl="1"/>
            <a:r>
              <a:rPr lang="en-US"/>
              <a:t>Email</a:t>
            </a:r>
          </a:p>
          <a:p>
            <a:pPr lvl="1"/>
            <a:r>
              <a:rPr lang="en-US"/>
              <a:t>Phon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1171612"/>
            <a:ext cx="2667000" cy="226352"/>
          </a:xfrm>
        </p:spPr>
        <p:txBody>
          <a:bodyPr>
            <a:noAutofit/>
          </a:bodyPr>
          <a:lstStyle>
            <a:lvl1pPr marL="0" indent="0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5" name="Picture 14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8" name="Picture 7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1" name="Picture 10" descr="KS_logo_white.wmf">
            <a:extLst>
              <a:ext uri="{FF2B5EF4-FFF2-40B4-BE49-F238E27FC236}">
                <a16:creationId xmlns:a16="http://schemas.microsoft.com/office/drawing/2014/main" id="{CB7746E7-70C0-7C4D-BC72-F5353D9214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199" y="282567"/>
            <a:ext cx="2133602" cy="28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7582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469602" y="1912291"/>
            <a:ext cx="8228804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69607" y="2807971"/>
            <a:ext cx="8228805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/>
          <p:cNvSpPr>
            <a:spLocks noGrp="1"/>
          </p:cNvSpPr>
          <p:nvPr>
            <p:ph sz="half" idx="15"/>
          </p:nvPr>
        </p:nvSpPr>
        <p:spPr>
          <a:xfrm>
            <a:off x="3175092" y="1030812"/>
            <a:ext cx="5523316" cy="87512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8"/>
          </p:nvPr>
        </p:nvSpPr>
        <p:spPr>
          <a:xfrm>
            <a:off x="3175091" y="1920987"/>
            <a:ext cx="5523316" cy="87950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21"/>
          </p:nvPr>
        </p:nvSpPr>
        <p:spPr>
          <a:xfrm>
            <a:off x="3175093" y="2809877"/>
            <a:ext cx="5523316" cy="88805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08" y="1029912"/>
            <a:ext cx="2601385" cy="87602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8" y="1919547"/>
            <a:ext cx="2601385" cy="8823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334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9608" y="2815541"/>
            <a:ext cx="2601385" cy="88238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half" idx="22"/>
          </p:nvPr>
        </p:nvSpPr>
        <p:spPr>
          <a:xfrm>
            <a:off x="3175091" y="3710834"/>
            <a:ext cx="5523316" cy="88805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3" hasCustomPrompt="1"/>
          </p:nvPr>
        </p:nvSpPr>
        <p:spPr>
          <a:xfrm>
            <a:off x="469607" y="3711535"/>
            <a:ext cx="2601385" cy="88734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469607" y="3704375"/>
            <a:ext cx="8228807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8844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469608" y="2183079"/>
            <a:ext cx="822880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69608" y="3428693"/>
            <a:ext cx="8228805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/>
          <p:cNvSpPr>
            <a:spLocks noGrp="1"/>
          </p:cNvSpPr>
          <p:nvPr>
            <p:ph sz="half" idx="2"/>
          </p:nvPr>
        </p:nvSpPr>
        <p:spPr>
          <a:xfrm>
            <a:off x="469609" y="1028703"/>
            <a:ext cx="8228803" cy="105449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7"/>
          </p:nvPr>
        </p:nvSpPr>
        <p:spPr>
          <a:xfrm>
            <a:off x="469608" y="2276081"/>
            <a:ext cx="8228803" cy="105449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0"/>
          </p:nvPr>
        </p:nvSpPr>
        <p:spPr>
          <a:xfrm>
            <a:off x="469610" y="3523458"/>
            <a:ext cx="8228803" cy="105449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71620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04" y="1041874"/>
            <a:ext cx="2601386" cy="105832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469609" y="2190957"/>
            <a:ext cx="822880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/>
          <p:cNvSpPr>
            <a:spLocks noGrp="1"/>
          </p:cNvSpPr>
          <p:nvPr>
            <p:ph sz="half" idx="15"/>
          </p:nvPr>
        </p:nvSpPr>
        <p:spPr>
          <a:xfrm>
            <a:off x="3230144" y="1041876"/>
            <a:ext cx="2673308" cy="1054493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6"/>
          </p:nvPr>
        </p:nvSpPr>
        <p:spPr>
          <a:xfrm>
            <a:off x="6025098" y="1034007"/>
            <a:ext cx="2673308" cy="1062360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69604" y="2267855"/>
            <a:ext cx="2601386" cy="107022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69609" y="3422889"/>
            <a:ext cx="822880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3"/>
          <p:cNvSpPr>
            <a:spLocks noGrp="1"/>
          </p:cNvSpPr>
          <p:nvPr>
            <p:ph sz="half" idx="18"/>
          </p:nvPr>
        </p:nvSpPr>
        <p:spPr>
          <a:xfrm>
            <a:off x="3230144" y="2275722"/>
            <a:ext cx="2673308" cy="1054493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half" idx="19"/>
          </p:nvPr>
        </p:nvSpPr>
        <p:spPr>
          <a:xfrm>
            <a:off x="6025098" y="2267852"/>
            <a:ext cx="2673308" cy="1062360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0" hasCustomPrompt="1"/>
          </p:nvPr>
        </p:nvSpPr>
        <p:spPr>
          <a:xfrm>
            <a:off x="469604" y="3505737"/>
            <a:ext cx="2601386" cy="105449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1"/>
          </p:nvPr>
        </p:nvSpPr>
        <p:spPr>
          <a:xfrm>
            <a:off x="3230144" y="3505737"/>
            <a:ext cx="2673308" cy="1054493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2"/>
          </p:nvPr>
        </p:nvSpPr>
        <p:spPr>
          <a:xfrm>
            <a:off x="6025098" y="3497867"/>
            <a:ext cx="2673308" cy="1062360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30292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7" userDrawn="1">
          <p15:clr>
            <a:srgbClr val="FBAE40"/>
          </p15:clr>
        </p15:guide>
        <p15:guide id="2" orient="horz" pos="221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469605" y="2182311"/>
            <a:ext cx="8228802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69605" y="3428456"/>
            <a:ext cx="8228800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/>
          <p:cNvSpPr>
            <a:spLocks noGrp="1"/>
          </p:cNvSpPr>
          <p:nvPr>
            <p:ph sz="half" idx="15"/>
          </p:nvPr>
        </p:nvSpPr>
        <p:spPr>
          <a:xfrm>
            <a:off x="3175092" y="1033161"/>
            <a:ext cx="5523314" cy="106234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8"/>
          </p:nvPr>
        </p:nvSpPr>
        <p:spPr>
          <a:xfrm>
            <a:off x="3175091" y="2267957"/>
            <a:ext cx="5523314" cy="107405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21"/>
          </p:nvPr>
        </p:nvSpPr>
        <p:spPr>
          <a:xfrm>
            <a:off x="3175093" y="3511574"/>
            <a:ext cx="5523314" cy="107405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04" y="1026061"/>
            <a:ext cx="2601386" cy="107405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4" y="2267957"/>
            <a:ext cx="2601386" cy="107405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334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9604" y="3511574"/>
            <a:ext cx="2601386" cy="107405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7696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7" userDrawn="1">
          <p15:clr>
            <a:srgbClr val="FBAE40"/>
          </p15:clr>
        </p15:guide>
        <p15:guide id="2" orient="horz" pos="221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half" idx="2"/>
          </p:nvPr>
        </p:nvSpPr>
        <p:spPr>
          <a:xfrm>
            <a:off x="2950190" y="1328583"/>
            <a:ext cx="2694654" cy="99010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470374" y="1328583"/>
            <a:ext cx="2357942" cy="990107"/>
          </a:xfrm>
          <a:ln>
            <a:solidFill>
              <a:schemeClr val="tx1"/>
            </a:solidFill>
          </a:ln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050"/>
            </a:lvl2pPr>
            <a:lvl3pPr marL="685783" indent="0">
              <a:buNone/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6"/>
          </p:nvPr>
        </p:nvSpPr>
        <p:spPr>
          <a:xfrm>
            <a:off x="6008925" y="1328583"/>
            <a:ext cx="2694654" cy="99010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7"/>
          </p:nvPr>
        </p:nvSpPr>
        <p:spPr>
          <a:xfrm>
            <a:off x="2950189" y="2456299"/>
            <a:ext cx="2694654" cy="100479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19"/>
          </p:nvPr>
        </p:nvSpPr>
        <p:spPr>
          <a:xfrm>
            <a:off x="6008924" y="2456299"/>
            <a:ext cx="2694654" cy="100479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0"/>
          </p:nvPr>
        </p:nvSpPr>
        <p:spPr>
          <a:xfrm>
            <a:off x="2950191" y="3585496"/>
            <a:ext cx="2694654" cy="100479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half" idx="22"/>
          </p:nvPr>
        </p:nvSpPr>
        <p:spPr>
          <a:xfrm>
            <a:off x="6008926" y="3585496"/>
            <a:ext cx="2694654" cy="100479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950874" y="1028701"/>
            <a:ext cx="2693999" cy="270272"/>
          </a:xfrm>
        </p:spPr>
        <p:txBody>
          <a:bodyPr anchor="t">
            <a:noAutofit/>
          </a:bodyPr>
          <a:lstStyle>
            <a:lvl1pPr marL="0" indent="0">
              <a:buNone/>
              <a:defRPr sz="1200" b="1" baseline="0">
                <a:solidFill>
                  <a:srgbClr val="3D505A"/>
                </a:solidFill>
              </a:defRPr>
            </a:lvl1pPr>
          </a:lstStyle>
          <a:p>
            <a:pPr lvl="0"/>
            <a:r>
              <a:rPr lang="en-US"/>
              <a:t>Add summary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004412" y="1029091"/>
            <a:ext cx="2693999" cy="270272"/>
          </a:xfrm>
        </p:spPr>
        <p:txBody>
          <a:bodyPr anchor="t">
            <a:noAutofit/>
          </a:bodyPr>
          <a:lstStyle>
            <a:lvl1pPr marL="0" indent="0">
              <a:buNone/>
              <a:defRPr sz="1200" b="1" baseline="0">
                <a:solidFill>
                  <a:srgbClr val="3D505A"/>
                </a:solidFill>
              </a:defRPr>
            </a:lvl1pPr>
          </a:lstStyle>
          <a:p>
            <a:pPr lvl="0"/>
            <a:r>
              <a:rPr lang="en-US"/>
              <a:t>Add implications here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5" hasCustomPrompt="1"/>
          </p:nvPr>
        </p:nvSpPr>
        <p:spPr>
          <a:xfrm>
            <a:off x="469604" y="2456302"/>
            <a:ext cx="2357942" cy="991583"/>
          </a:xfrm>
          <a:ln>
            <a:solidFill>
              <a:schemeClr val="tx1"/>
            </a:solidFill>
          </a:ln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050"/>
            </a:lvl2pPr>
            <a:lvl3pPr marL="685783" indent="0">
              <a:buNone/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6" hasCustomPrompt="1"/>
          </p:nvPr>
        </p:nvSpPr>
        <p:spPr>
          <a:xfrm>
            <a:off x="469604" y="3585496"/>
            <a:ext cx="2357942" cy="1004792"/>
          </a:xfrm>
          <a:ln>
            <a:solidFill>
              <a:schemeClr val="tx1"/>
            </a:solidFill>
          </a:ln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050"/>
            </a:lvl2pPr>
            <a:lvl3pPr marL="685783" indent="0">
              <a:buNone/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8149" y="1565071"/>
            <a:ext cx="342878" cy="21176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8149" y="2655410"/>
            <a:ext cx="342878" cy="211760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8149" y="3799291"/>
            <a:ext cx="342878" cy="21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1089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604" y="1028701"/>
            <a:ext cx="4026196" cy="3524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2210" y="1028701"/>
            <a:ext cx="4026196" cy="3524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sz="800">
                <a:solidFill>
                  <a:srgbClr val="3D505A"/>
                </a:solidFill>
              </a:rPr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 sz="800"/>
            </a:lvl1pPr>
          </a:lstStyle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2387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604" y="1387081"/>
            <a:ext cx="4026196" cy="316587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69604" y="1028700"/>
            <a:ext cx="8260028" cy="358378"/>
          </a:xfrm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672210" y="1387077"/>
            <a:ext cx="4026196" cy="316587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90992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9604" y="998769"/>
            <a:ext cx="4027784" cy="485786"/>
          </a:xfrm>
        </p:spPr>
        <p:txBody>
          <a:bodyPr anchor="b">
            <a:noAutofit/>
          </a:bodyPr>
          <a:lstStyle>
            <a:lvl1pPr marL="0" indent="0">
              <a:buNone/>
              <a:defRPr sz="1200" b="1">
                <a:solidFill>
                  <a:srgbClr val="000000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9604" y="1570686"/>
            <a:ext cx="4027784" cy="298226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69040" y="998769"/>
            <a:ext cx="4029366" cy="485786"/>
          </a:xfrm>
        </p:spPr>
        <p:txBody>
          <a:bodyPr anchor="b">
            <a:noAutofit/>
          </a:bodyPr>
          <a:lstStyle>
            <a:lvl1pPr marL="0" indent="0">
              <a:buNone/>
              <a:defRPr sz="1200" b="1">
                <a:solidFill>
                  <a:srgbClr val="000000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9040" y="1570686"/>
            <a:ext cx="4029366" cy="298226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69605" y="1484555"/>
            <a:ext cx="402778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669040" y="1484555"/>
            <a:ext cx="402778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7435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4" y="1028701"/>
            <a:ext cx="4026196" cy="35242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72210" y="1028701"/>
            <a:ext cx="4026196" cy="35242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44431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8" y="1028701"/>
            <a:ext cx="2581219" cy="35242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3293400" y="1028701"/>
            <a:ext cx="2581219" cy="35242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5" hasCustomPrompt="1"/>
          </p:nvPr>
        </p:nvSpPr>
        <p:spPr>
          <a:xfrm>
            <a:off x="6117192" y="1028701"/>
            <a:ext cx="2581219" cy="352425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452722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856416"/>
            <a:ext cx="9144000" cy="3203452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388325" y="973768"/>
            <a:ext cx="5029200" cy="3086100"/>
          </a:xfrm>
          <a:prstGeom prst="rect">
            <a:avLst/>
          </a:prstGeom>
          <a:solidFill>
            <a:schemeClr val="bg1">
              <a:alpha val="79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68580" rIns="68580" bIns="685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900" b="1" kern="1200">
              <a:solidFill>
                <a:schemeClr val="accent1"/>
              </a:solidFill>
              <a:ea typeface="Tahoma"/>
              <a:cs typeface="Tahoma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4143647"/>
            <a:ext cx="4477626" cy="942703"/>
          </a:xfrm>
        </p:spPr>
        <p:txBody>
          <a:bodyPr numCol="2">
            <a:noAutofit/>
          </a:bodyPr>
          <a:lstStyle>
            <a:lvl1pPr marL="0" indent="0" algn="l">
              <a:buNone/>
              <a:defRPr sz="1000" b="1">
                <a:solidFill>
                  <a:schemeClr val="accent5"/>
                </a:solidFill>
              </a:defRPr>
            </a:lvl1pPr>
            <a:lvl2pPr marL="0" indent="0" algn="l">
              <a:buNone/>
              <a:defRPr sz="1000">
                <a:solidFill>
                  <a:srgbClr val="3D505A"/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</a:t>
            </a:r>
          </a:p>
          <a:p>
            <a:pPr lvl="1"/>
            <a:r>
              <a:rPr lang="en-US"/>
              <a:t>Title, Company</a:t>
            </a:r>
          </a:p>
          <a:p>
            <a:pPr lvl="1"/>
            <a:r>
              <a:rPr lang="en-US"/>
              <a:t>Email</a:t>
            </a:r>
          </a:p>
          <a:p>
            <a:pPr lvl="1"/>
            <a:r>
              <a:rPr lang="en-US"/>
              <a:t>Phone</a:t>
            </a:r>
          </a:p>
          <a:p>
            <a:r>
              <a:rPr lang="en-US"/>
              <a:t>NAME</a:t>
            </a:r>
          </a:p>
          <a:p>
            <a:pPr lvl="1"/>
            <a:r>
              <a:rPr lang="en-US"/>
              <a:t>Title, Company</a:t>
            </a:r>
          </a:p>
          <a:p>
            <a:pPr lvl="1"/>
            <a:r>
              <a:rPr lang="en-US"/>
              <a:t>Email</a:t>
            </a:r>
          </a:p>
          <a:p>
            <a:pPr lvl="1"/>
            <a:r>
              <a:rPr lang="en-US"/>
              <a:t>Phon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5" name="Picture 14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2" name="Picture 11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385954"/>
            <a:ext cx="4477626" cy="2551959"/>
          </a:xfrm>
        </p:spPr>
        <p:txBody>
          <a:bodyPr anchor="t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85799" y="1123950"/>
            <a:ext cx="2771769" cy="229798"/>
          </a:xfrm>
        </p:spPr>
        <p:txBody>
          <a:bodyPr>
            <a:noAutofit/>
          </a:bodyPr>
          <a:lstStyle>
            <a:lvl1pPr marL="0" indent="0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6" name="Picture 15" descr="KS_logo_white.wmf">
            <a:extLst>
              <a:ext uri="{FF2B5EF4-FFF2-40B4-BE49-F238E27FC236}">
                <a16:creationId xmlns:a16="http://schemas.microsoft.com/office/drawing/2014/main" id="{FFF7682F-9E83-6844-AC35-F5AE7F91FC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199" y="282567"/>
            <a:ext cx="2133602" cy="28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5813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8817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9604" y="1671205"/>
            <a:ext cx="8228804" cy="1783340"/>
          </a:xfrm>
        </p:spPr>
        <p:txBody>
          <a:bodyPr/>
          <a:lstStyle>
            <a:lvl1pPr marL="0" indent="0" algn="ctr">
              <a:buNone/>
              <a:defRPr sz="45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A FEW WORDS</a:t>
            </a:r>
          </a:p>
        </p:txBody>
      </p:sp>
    </p:spTree>
    <p:extLst>
      <p:ext uri="{BB962C8B-B14F-4D97-AF65-F5344CB8AC3E}">
        <p14:creationId xmlns:p14="http://schemas.microsoft.com/office/powerpoint/2010/main" val="37580647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85171" y="1671205"/>
            <a:ext cx="8213236" cy="1783340"/>
          </a:xfrm>
        </p:spPr>
        <p:txBody>
          <a:bodyPr/>
          <a:lstStyle>
            <a:lvl1pPr marL="0" indent="0" algn="ctr">
              <a:buNone/>
              <a:defRPr sz="3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a short sentence</a:t>
            </a:r>
          </a:p>
        </p:txBody>
      </p:sp>
    </p:spTree>
    <p:extLst>
      <p:ext uri="{BB962C8B-B14F-4D97-AF65-F5344CB8AC3E}">
        <p14:creationId xmlns:p14="http://schemas.microsoft.com/office/powerpoint/2010/main" val="14747718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46291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0" y="762000"/>
            <a:ext cx="9144000" cy="990600"/>
          </a:xfrm>
          <a:prstGeom prst="rect">
            <a:avLst/>
          </a:prstGeom>
          <a:solidFill>
            <a:schemeClr val="bg1">
              <a:alpha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68580" rIns="6858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9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9608" y="886347"/>
            <a:ext cx="8228803" cy="782435"/>
          </a:xfrm>
        </p:spPr>
        <p:txBody>
          <a:bodyPr/>
          <a:lstStyle>
            <a:lvl1pPr marL="0" indent="0" algn="ctr">
              <a:buNone/>
              <a:defRPr sz="45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A FEW WORD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074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9144000" cy="462914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0" y="762000"/>
            <a:ext cx="9144000" cy="1211580"/>
          </a:xfrm>
          <a:prstGeom prst="rect">
            <a:avLst/>
          </a:prstGeom>
          <a:solidFill>
            <a:schemeClr val="bg1">
              <a:alpha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68580" rIns="6858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9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1999" y="855867"/>
            <a:ext cx="8229600" cy="1003415"/>
          </a:xfrm>
        </p:spPr>
        <p:txBody>
          <a:bodyPr/>
          <a:lstStyle>
            <a:lvl1pPr marL="0" indent="0" algn="ctr">
              <a:buNone/>
              <a:defRPr sz="3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a short </a:t>
            </a:r>
            <a:br>
              <a:rPr lang="en-US"/>
            </a:br>
            <a:r>
              <a:rPr lang="en-US"/>
              <a:t>sentence</a:t>
            </a:r>
          </a:p>
        </p:txBody>
      </p:sp>
    </p:spTree>
    <p:extLst>
      <p:ext uri="{BB962C8B-B14F-4D97-AF65-F5344CB8AC3E}">
        <p14:creationId xmlns:p14="http://schemas.microsoft.com/office/powerpoint/2010/main" val="16461873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9609" y="990602"/>
            <a:ext cx="8228803" cy="333017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250"/>
              </a:spcAft>
              <a:buNone/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77626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72243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0" y="4786314"/>
            <a:ext cx="3187700" cy="178594"/>
          </a:xfrm>
        </p:spPr>
        <p:txBody>
          <a:bodyPr/>
          <a:lstStyle>
            <a:lvl1pPr marL="0" indent="0">
              <a:buNone/>
              <a:defRPr sz="600" baseline="0"/>
            </a:lvl1pPr>
          </a:lstStyle>
          <a:p>
            <a:pPr lvl="0"/>
            <a:r>
              <a:rPr lang="en-US"/>
              <a:t>Source: Add text her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1927E3D-112D-B08B-EFCC-1AD6290828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76301" y="4849389"/>
            <a:ext cx="291696" cy="156943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662" b="1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defRPr>
            </a:lvl1pPr>
          </a:lstStyle>
          <a:p>
            <a:fld id="{51B26464-4B37-40DF-8E5B-9D102111D51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947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856418"/>
            <a:ext cx="9144000" cy="2577253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5" name="Picture 14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2" name="Picture 11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4" y="3829276"/>
            <a:ext cx="7086596" cy="1094240"/>
          </a:xfrm>
        </p:spPr>
        <p:txBody>
          <a:bodyPr anchor="t">
            <a:noAutofit/>
          </a:bodyPr>
          <a:lstStyle>
            <a:lvl1pPr>
              <a:defRPr sz="2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3562350"/>
            <a:ext cx="2667000" cy="226352"/>
          </a:xfrm>
        </p:spPr>
        <p:txBody>
          <a:bodyPr>
            <a:noAutofit/>
          </a:bodyPr>
          <a:lstStyle>
            <a:lvl1pPr marL="0" indent="0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6" name="Picture 15" descr="KS_logo_white.wmf">
            <a:extLst>
              <a:ext uri="{FF2B5EF4-FFF2-40B4-BE49-F238E27FC236}">
                <a16:creationId xmlns:a16="http://schemas.microsoft.com/office/drawing/2014/main" id="{A067A31F-3036-874C-9398-BD945C47D6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199" y="282567"/>
            <a:ext cx="2133602" cy="28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0630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7A868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3401" y="1513888"/>
            <a:ext cx="8077199" cy="2399744"/>
          </a:xfrm>
        </p:spPr>
        <p:txBody>
          <a:bodyPr anchor="t">
            <a:noAutofit/>
          </a:bodyPr>
          <a:lstStyle>
            <a:lvl1pPr algn="ctr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9112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9607" y="1028700"/>
            <a:ext cx="8228800" cy="3543300"/>
          </a:xfrm>
        </p:spPr>
        <p:txBody>
          <a:bodyPr>
            <a:noAutofit/>
          </a:bodyPr>
          <a:lstStyle>
            <a:lvl1pPr marL="385754" indent="-385754">
              <a:lnSpc>
                <a:spcPct val="120000"/>
              </a:lnSpc>
              <a:buFont typeface="+mj-lt"/>
              <a:buAutoNum type="arabicPeriod"/>
              <a:defRPr sz="1600" baseline="0">
                <a:solidFill>
                  <a:srgbClr val="3D505A"/>
                </a:solidFill>
              </a:defRPr>
            </a:lvl1pPr>
          </a:lstStyle>
          <a:p>
            <a:pPr lvl="0"/>
            <a:r>
              <a:rPr lang="en-US"/>
              <a:t>Click to add agenda item he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9905" y="118873"/>
            <a:ext cx="8228013" cy="61931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add agenda title he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33288" y="4813918"/>
            <a:ext cx="277435" cy="129893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892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9610" y="1028700"/>
            <a:ext cx="8228801" cy="3543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</p:spTree>
    <p:extLst>
      <p:ext uri="{BB962C8B-B14F-4D97-AF65-F5344CB8AC3E}">
        <p14:creationId xmlns:p14="http://schemas.microsoft.com/office/powerpoint/2010/main" val="1814221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9604" y="1387079"/>
            <a:ext cx="8228802" cy="3165871"/>
          </a:xfrm>
        </p:spPr>
        <p:txBody>
          <a:bodyPr/>
          <a:lstStyle>
            <a:lvl1pPr>
              <a:defRPr>
                <a:solidFill>
                  <a:srgbClr val="3D505A"/>
                </a:solidFill>
              </a:defRPr>
            </a:lvl1pPr>
            <a:lvl2pPr>
              <a:defRPr>
                <a:solidFill>
                  <a:srgbClr val="3D505A"/>
                </a:solidFill>
              </a:defRPr>
            </a:lvl2pPr>
            <a:lvl3pPr>
              <a:defRPr>
                <a:solidFill>
                  <a:srgbClr val="3D505A"/>
                </a:solidFill>
              </a:defRPr>
            </a:lvl3pPr>
            <a:lvl4pPr>
              <a:defRPr>
                <a:solidFill>
                  <a:srgbClr val="3D505A"/>
                </a:solidFill>
              </a:defRPr>
            </a:lvl4pPr>
            <a:lvl5pPr>
              <a:defRPr>
                <a:solidFill>
                  <a:srgbClr val="3D505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69608" y="1028702"/>
            <a:ext cx="8228803" cy="358379"/>
          </a:xfrm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449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3D505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10" y="1028701"/>
            <a:ext cx="8228801" cy="35242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3D505A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None/>
              <a:defRPr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D505A"/>
                </a:solidFill>
              </a:defRPr>
            </a:lvl1pPr>
          </a:lstStyle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3D505A"/>
                </a:solidFill>
              </a:defRPr>
            </a:lvl1pPr>
          </a:lstStyle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</p:spTree>
    <p:extLst>
      <p:ext uri="{BB962C8B-B14F-4D97-AF65-F5344CB8AC3E}">
        <p14:creationId xmlns:p14="http://schemas.microsoft.com/office/powerpoint/2010/main" val="41272732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04" y="1028700"/>
            <a:ext cx="8228802" cy="107200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3D505A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None/>
              <a:defRPr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4" y="2263175"/>
            <a:ext cx="8228802" cy="107200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3D505A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None/>
              <a:defRPr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9604" y="3497651"/>
            <a:ext cx="8228802" cy="107200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3D505A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None/>
              <a:defRPr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69604" y="2183077"/>
            <a:ext cx="8228802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469604" y="3420812"/>
            <a:ext cx="8228802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26703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4387E61-72F8-0600-05E7-07448D5B59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254784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05" imgH="312" progId="TCLayout.ActiveDocument.1">
                  <p:embed/>
                </p:oleObj>
              </mc:Choice>
              <mc:Fallback>
                <p:oleObj name="think-cell Slide" r:id="rId30" imgW="305" imgH="31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4387E61-72F8-0600-05E7-07448D5B59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9610" y="0"/>
            <a:ext cx="8228801" cy="737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Headline copy go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9611" y="1028700"/>
            <a:ext cx="8228801" cy="35433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610" y="4684138"/>
            <a:ext cx="3340617" cy="405555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33288" y="4813918"/>
            <a:ext cx="277435" cy="129893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/>
          <p:cNvSpPr txBox="1">
            <a:spLocks/>
          </p:cNvSpPr>
          <p:nvPr userDrawn="1"/>
        </p:nvSpPr>
        <p:spPr>
          <a:xfrm>
            <a:off x="4140701" y="4684138"/>
            <a:ext cx="862598" cy="129778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4588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5763" indent="-2841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/>
              <a:t>CONFIDENTIAL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 rot="10800000">
            <a:off x="0" y="742951"/>
            <a:ext cx="9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 bwMode="auto">
          <a:xfrm rot="10800000" flipH="1">
            <a:off x="468811" y="4629150"/>
            <a:ext cx="822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2247DF49-85C3-9542-B1B9-2F213F2DD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2"/>
          <a:srcRect r="15461" b="17108"/>
          <a:stretch/>
        </p:blipFill>
        <p:spPr>
          <a:xfrm>
            <a:off x="7667707" y="4623200"/>
            <a:ext cx="1030704" cy="252656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5E6EB8D0-8673-1D45-BCE1-89F18081C064}"/>
              </a:ext>
            </a:extLst>
          </p:cNvPr>
          <p:cNvGrpSpPr/>
          <p:nvPr userDrawn="1"/>
        </p:nvGrpSpPr>
        <p:grpSpPr>
          <a:xfrm>
            <a:off x="-591603" y="76200"/>
            <a:ext cx="459575" cy="5010150"/>
            <a:chOff x="-773478" y="557787"/>
            <a:chExt cx="641450" cy="6992897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08600E-6E6D-614E-A72B-527B9CCAD9C4}"/>
                </a:ext>
              </a:extLst>
            </p:cNvPr>
            <p:cNvSpPr/>
            <p:nvPr userDrawn="1"/>
          </p:nvSpPr>
          <p:spPr>
            <a:xfrm>
              <a:off x="-773477" y="557787"/>
              <a:ext cx="641449" cy="70260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61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80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90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058B7D2-BE70-074B-984C-CF65090BA0D2}"/>
                </a:ext>
              </a:extLst>
            </p:cNvPr>
            <p:cNvSpPr/>
            <p:nvPr userDrawn="1"/>
          </p:nvSpPr>
          <p:spPr>
            <a:xfrm>
              <a:off x="-773477" y="1456400"/>
              <a:ext cx="641449" cy="70260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27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95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73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4BCE523-CF80-C94A-9BF9-33E08676D4B9}"/>
                </a:ext>
              </a:extLst>
            </p:cNvPr>
            <p:cNvSpPr/>
            <p:nvPr userDrawn="1"/>
          </p:nvSpPr>
          <p:spPr>
            <a:xfrm>
              <a:off x="-773478" y="6848078"/>
              <a:ext cx="641450" cy="70260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09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207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246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1CF04C2-D6C0-7C4F-8F96-C80142BAB3C1}"/>
                </a:ext>
              </a:extLst>
            </p:cNvPr>
            <p:cNvSpPr/>
            <p:nvPr userDrawn="1"/>
          </p:nvSpPr>
          <p:spPr>
            <a:xfrm>
              <a:off x="-773478" y="4152239"/>
              <a:ext cx="641450" cy="70260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57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66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71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384DBEF-C8EE-C243-852A-28A240836FC9}"/>
                </a:ext>
              </a:extLst>
            </p:cNvPr>
            <p:cNvSpPr/>
            <p:nvPr userDrawn="1"/>
          </p:nvSpPr>
          <p:spPr>
            <a:xfrm>
              <a:off x="-773478" y="5050852"/>
              <a:ext cx="641450" cy="70260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0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78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11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D21F95C-9702-314C-848A-666D808B402F}"/>
                </a:ext>
              </a:extLst>
            </p:cNvPr>
            <p:cNvSpPr/>
            <p:nvPr userDrawn="1"/>
          </p:nvSpPr>
          <p:spPr>
            <a:xfrm>
              <a:off x="-773478" y="5949465"/>
              <a:ext cx="641450" cy="702606"/>
            </a:xfrm>
            <a:prstGeom prst="rect">
              <a:avLst/>
            </a:pr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0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74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239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844DE3E-CFD1-A148-BCBA-8C011BA4857A}"/>
                </a:ext>
              </a:extLst>
            </p:cNvPr>
            <p:cNvSpPr/>
            <p:nvPr userDrawn="1"/>
          </p:nvSpPr>
          <p:spPr>
            <a:xfrm>
              <a:off x="-773477" y="2355013"/>
              <a:ext cx="641449" cy="702606"/>
            </a:xfrm>
            <a:prstGeom prst="rect">
              <a:avLst/>
            </a:prstGeom>
            <a:solidFill>
              <a:srgbClr val="6C8C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08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40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56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2A2DADD-5D08-3642-B744-CF2E4C66CEEA}"/>
                </a:ext>
              </a:extLst>
            </p:cNvPr>
            <p:cNvSpPr/>
            <p:nvPr userDrawn="1"/>
          </p:nvSpPr>
          <p:spPr>
            <a:xfrm>
              <a:off x="-773478" y="3253626"/>
              <a:ext cx="641450" cy="702606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22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34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4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27449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712" r:id="rId3"/>
    <p:sldLayoutId id="2147483695" r:id="rId4"/>
    <p:sldLayoutId id="2147483713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5" r:id="rId21"/>
    <p:sldLayoutId id="2147483714" r:id="rId22"/>
    <p:sldLayoutId id="2147483717" r:id="rId23"/>
    <p:sldLayoutId id="2147483718" r:id="rId24"/>
    <p:sldLayoutId id="2147483719" r:id="rId25"/>
    <p:sldLayoutId id="2147483711" r:id="rId26"/>
    <p:sldLayoutId id="2147483721" r:id="rId27"/>
  </p:sldLayoutIdLst>
  <p:hf hdr="0" dt="0"/>
  <p:txStyles>
    <p:titleStyle>
      <a:lvl1pPr algn="l" defTabSz="342892" rtl="0" eaLnBrk="1" latinLnBrk="0" hangingPunct="1"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5013" indent="-125013" algn="l" defTabSz="342892" rtl="0" eaLnBrk="1" latinLnBrk="0" hangingPunct="1">
        <a:spcBef>
          <a:spcPts val="600"/>
        </a:spcBef>
        <a:buFont typeface="Arial"/>
        <a:buChar char="•"/>
        <a:defRPr sz="1200" kern="1200">
          <a:solidFill>
            <a:srgbClr val="3D505A"/>
          </a:solidFill>
          <a:latin typeface="+mn-lt"/>
          <a:ea typeface="+mn-ea"/>
          <a:cs typeface="+mn-cs"/>
        </a:defRPr>
      </a:lvl1pPr>
      <a:lvl2pPr marL="515528" indent="-172637" algn="l" defTabSz="342892" rtl="0" eaLnBrk="1" latinLnBrk="0" hangingPunct="1">
        <a:spcBef>
          <a:spcPts val="600"/>
        </a:spcBef>
        <a:buFont typeface="Arial"/>
        <a:buChar char="–"/>
        <a:defRPr sz="1200" kern="1200">
          <a:solidFill>
            <a:srgbClr val="3D505A"/>
          </a:solidFill>
          <a:latin typeface="+mn-lt"/>
          <a:ea typeface="+mn-ea"/>
          <a:cs typeface="+mn-cs"/>
        </a:defRPr>
      </a:lvl2pPr>
      <a:lvl3pPr marL="811986" indent="-126203" algn="l" defTabSz="342892" rtl="0" eaLnBrk="1" latinLnBrk="0" hangingPunct="1">
        <a:spcBef>
          <a:spcPts val="600"/>
        </a:spcBef>
        <a:buFont typeface="Arial"/>
        <a:buChar char="•"/>
        <a:defRPr sz="1200" kern="1200">
          <a:solidFill>
            <a:srgbClr val="3D505A"/>
          </a:solidFill>
          <a:latin typeface="+mn-lt"/>
          <a:ea typeface="+mn-ea"/>
          <a:cs typeface="+mn-cs"/>
        </a:defRPr>
      </a:lvl3pPr>
      <a:lvl4pPr marL="1202501" indent="-173827" algn="l" defTabSz="342892" rtl="0" eaLnBrk="1" latinLnBrk="0" hangingPunct="1">
        <a:spcBef>
          <a:spcPts val="600"/>
        </a:spcBef>
        <a:buFont typeface="Arial"/>
        <a:buChar char="–"/>
        <a:defRPr sz="1200" kern="1200">
          <a:solidFill>
            <a:srgbClr val="3D505A"/>
          </a:solidFill>
          <a:latin typeface="+mn-lt"/>
          <a:ea typeface="+mn-ea"/>
          <a:cs typeface="+mn-cs"/>
        </a:defRPr>
      </a:lvl4pPr>
      <a:lvl5pPr marL="1498960" indent="-127394" algn="l" defTabSz="342892" rtl="0" eaLnBrk="1" latinLnBrk="0" hangingPunct="1">
        <a:spcBef>
          <a:spcPts val="600"/>
        </a:spcBef>
        <a:buFont typeface="Arial"/>
        <a:buChar char="•"/>
        <a:tabLst/>
        <a:defRPr sz="1200" kern="1200">
          <a:solidFill>
            <a:srgbClr val="3D505A"/>
          </a:solidFill>
          <a:latin typeface="+mn-lt"/>
          <a:ea typeface="+mn-ea"/>
          <a:cs typeface="+mn-cs"/>
        </a:defRPr>
      </a:lvl5pPr>
      <a:lvl6pPr marL="1885903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8" userDrawn="1">
          <p15:clr>
            <a:srgbClr val="F26B43"/>
          </p15:clr>
        </p15:guide>
        <p15:guide id="2" orient="horz" pos="3016" userDrawn="1">
          <p15:clr>
            <a:srgbClr val="F26B43"/>
          </p15:clr>
        </p15:guide>
        <p15:guide id="3" orient="horz" pos="874" userDrawn="1">
          <p15:clr>
            <a:srgbClr val="F26B43"/>
          </p15:clr>
        </p15:guide>
        <p15:guide id="4" orient="horz" pos="72" userDrawn="1">
          <p15:clr>
            <a:srgbClr val="F26B43"/>
          </p15:clr>
        </p15:guide>
        <p15:guide id="5" orient="horz" pos="3091" userDrawn="1">
          <p15:clr>
            <a:srgbClr val="F26B43"/>
          </p15:clr>
        </p15:guide>
        <p15:guide id="6" orient="horz" pos="3169" userDrawn="1">
          <p15:clr>
            <a:srgbClr val="F26B43"/>
          </p15:clr>
        </p15:guide>
        <p15:guide id="7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273.xml"/><Relationship Id="rId18" Type="http://schemas.openxmlformats.org/officeDocument/2006/relationships/tags" Target="../tags/tag278.xml"/><Relationship Id="rId26" Type="http://schemas.openxmlformats.org/officeDocument/2006/relationships/tags" Target="../tags/tag286.xml"/><Relationship Id="rId3" Type="http://schemas.openxmlformats.org/officeDocument/2006/relationships/tags" Target="../tags/tag263.xml"/><Relationship Id="rId21" Type="http://schemas.openxmlformats.org/officeDocument/2006/relationships/tags" Target="../tags/tag281.xml"/><Relationship Id="rId34" Type="http://schemas.openxmlformats.org/officeDocument/2006/relationships/chart" Target="../charts/chart13.xml"/><Relationship Id="rId7" Type="http://schemas.openxmlformats.org/officeDocument/2006/relationships/tags" Target="../tags/tag267.xml"/><Relationship Id="rId12" Type="http://schemas.openxmlformats.org/officeDocument/2006/relationships/tags" Target="../tags/tag272.xml"/><Relationship Id="rId17" Type="http://schemas.openxmlformats.org/officeDocument/2006/relationships/tags" Target="../tags/tag277.xml"/><Relationship Id="rId25" Type="http://schemas.openxmlformats.org/officeDocument/2006/relationships/tags" Target="../tags/tag285.xml"/><Relationship Id="rId33" Type="http://schemas.openxmlformats.org/officeDocument/2006/relationships/image" Target="../media/image5.emf"/><Relationship Id="rId2" Type="http://schemas.openxmlformats.org/officeDocument/2006/relationships/tags" Target="../tags/tag262.xml"/><Relationship Id="rId16" Type="http://schemas.openxmlformats.org/officeDocument/2006/relationships/tags" Target="../tags/tag276.xml"/><Relationship Id="rId20" Type="http://schemas.openxmlformats.org/officeDocument/2006/relationships/tags" Target="../tags/tag280.xml"/><Relationship Id="rId29" Type="http://schemas.openxmlformats.org/officeDocument/2006/relationships/tags" Target="../tags/tag289.xml"/><Relationship Id="rId1" Type="http://schemas.openxmlformats.org/officeDocument/2006/relationships/tags" Target="../tags/tag261.xml"/><Relationship Id="rId6" Type="http://schemas.openxmlformats.org/officeDocument/2006/relationships/tags" Target="../tags/tag266.xml"/><Relationship Id="rId11" Type="http://schemas.openxmlformats.org/officeDocument/2006/relationships/tags" Target="../tags/tag271.xml"/><Relationship Id="rId24" Type="http://schemas.openxmlformats.org/officeDocument/2006/relationships/tags" Target="../tags/tag284.xml"/><Relationship Id="rId32" Type="http://schemas.openxmlformats.org/officeDocument/2006/relationships/oleObject" Target="../embeddings/oleObject11.bin"/><Relationship Id="rId5" Type="http://schemas.openxmlformats.org/officeDocument/2006/relationships/tags" Target="../tags/tag265.xml"/><Relationship Id="rId15" Type="http://schemas.openxmlformats.org/officeDocument/2006/relationships/tags" Target="../tags/tag275.xml"/><Relationship Id="rId23" Type="http://schemas.openxmlformats.org/officeDocument/2006/relationships/tags" Target="../tags/tag283.xml"/><Relationship Id="rId28" Type="http://schemas.openxmlformats.org/officeDocument/2006/relationships/tags" Target="../tags/tag288.xml"/><Relationship Id="rId10" Type="http://schemas.openxmlformats.org/officeDocument/2006/relationships/tags" Target="../tags/tag270.xml"/><Relationship Id="rId19" Type="http://schemas.openxmlformats.org/officeDocument/2006/relationships/tags" Target="../tags/tag279.xml"/><Relationship Id="rId31" Type="http://schemas.openxmlformats.org/officeDocument/2006/relationships/notesSlide" Target="../notesSlides/notesSlide6.xml"/><Relationship Id="rId4" Type="http://schemas.openxmlformats.org/officeDocument/2006/relationships/tags" Target="../tags/tag264.xml"/><Relationship Id="rId9" Type="http://schemas.openxmlformats.org/officeDocument/2006/relationships/tags" Target="../tags/tag269.xml"/><Relationship Id="rId14" Type="http://schemas.openxmlformats.org/officeDocument/2006/relationships/tags" Target="../tags/tag274.xml"/><Relationship Id="rId22" Type="http://schemas.openxmlformats.org/officeDocument/2006/relationships/tags" Target="../tags/tag282.xml"/><Relationship Id="rId27" Type="http://schemas.openxmlformats.org/officeDocument/2006/relationships/tags" Target="../tags/tag287.xml"/><Relationship Id="rId30" Type="http://schemas.openxmlformats.org/officeDocument/2006/relationships/slideLayout" Target="../slideLayouts/slideLayout5.xml"/><Relationship Id="rId8" Type="http://schemas.openxmlformats.org/officeDocument/2006/relationships/tags" Target="../tags/tag26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0.xml"/><Relationship Id="rId4" Type="http://schemas.openxmlformats.org/officeDocument/2006/relationships/image" Target="../media/image5.emf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303.xml"/><Relationship Id="rId18" Type="http://schemas.openxmlformats.org/officeDocument/2006/relationships/tags" Target="../tags/tag308.xml"/><Relationship Id="rId26" Type="http://schemas.openxmlformats.org/officeDocument/2006/relationships/tags" Target="../tags/tag316.xml"/><Relationship Id="rId39" Type="http://schemas.openxmlformats.org/officeDocument/2006/relationships/tags" Target="../tags/tag329.xml"/><Relationship Id="rId21" Type="http://schemas.openxmlformats.org/officeDocument/2006/relationships/tags" Target="../tags/tag311.xml"/><Relationship Id="rId34" Type="http://schemas.openxmlformats.org/officeDocument/2006/relationships/tags" Target="../tags/tag324.xml"/><Relationship Id="rId42" Type="http://schemas.openxmlformats.org/officeDocument/2006/relationships/tags" Target="../tags/tag332.xml"/><Relationship Id="rId47" Type="http://schemas.openxmlformats.org/officeDocument/2006/relationships/tags" Target="../tags/tag337.xml"/><Relationship Id="rId50" Type="http://schemas.openxmlformats.org/officeDocument/2006/relationships/oleObject" Target="../embeddings/oleObject13.bin"/><Relationship Id="rId7" Type="http://schemas.openxmlformats.org/officeDocument/2006/relationships/tags" Target="../tags/tag297.xml"/><Relationship Id="rId2" Type="http://schemas.openxmlformats.org/officeDocument/2006/relationships/tags" Target="../tags/tag292.xml"/><Relationship Id="rId16" Type="http://schemas.openxmlformats.org/officeDocument/2006/relationships/tags" Target="../tags/tag306.xml"/><Relationship Id="rId29" Type="http://schemas.openxmlformats.org/officeDocument/2006/relationships/tags" Target="../tags/tag319.xml"/><Relationship Id="rId11" Type="http://schemas.openxmlformats.org/officeDocument/2006/relationships/tags" Target="../tags/tag301.xml"/><Relationship Id="rId24" Type="http://schemas.openxmlformats.org/officeDocument/2006/relationships/tags" Target="../tags/tag314.xml"/><Relationship Id="rId32" Type="http://schemas.openxmlformats.org/officeDocument/2006/relationships/tags" Target="../tags/tag322.xml"/><Relationship Id="rId37" Type="http://schemas.openxmlformats.org/officeDocument/2006/relationships/tags" Target="../tags/tag327.xml"/><Relationship Id="rId40" Type="http://schemas.openxmlformats.org/officeDocument/2006/relationships/tags" Target="../tags/tag330.xml"/><Relationship Id="rId45" Type="http://schemas.openxmlformats.org/officeDocument/2006/relationships/tags" Target="../tags/tag335.xml"/><Relationship Id="rId53" Type="http://schemas.openxmlformats.org/officeDocument/2006/relationships/chart" Target="../charts/chart15.xml"/><Relationship Id="rId5" Type="http://schemas.openxmlformats.org/officeDocument/2006/relationships/tags" Target="../tags/tag295.xml"/><Relationship Id="rId10" Type="http://schemas.openxmlformats.org/officeDocument/2006/relationships/tags" Target="../tags/tag300.xml"/><Relationship Id="rId19" Type="http://schemas.openxmlformats.org/officeDocument/2006/relationships/tags" Target="../tags/tag309.xml"/><Relationship Id="rId31" Type="http://schemas.openxmlformats.org/officeDocument/2006/relationships/tags" Target="../tags/tag321.xml"/><Relationship Id="rId44" Type="http://schemas.openxmlformats.org/officeDocument/2006/relationships/tags" Target="../tags/tag334.xml"/><Relationship Id="rId52" Type="http://schemas.openxmlformats.org/officeDocument/2006/relationships/chart" Target="../charts/chart14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Relationship Id="rId22" Type="http://schemas.openxmlformats.org/officeDocument/2006/relationships/tags" Target="../tags/tag312.xml"/><Relationship Id="rId27" Type="http://schemas.openxmlformats.org/officeDocument/2006/relationships/tags" Target="../tags/tag317.xml"/><Relationship Id="rId30" Type="http://schemas.openxmlformats.org/officeDocument/2006/relationships/tags" Target="../tags/tag320.xml"/><Relationship Id="rId35" Type="http://schemas.openxmlformats.org/officeDocument/2006/relationships/tags" Target="../tags/tag325.xml"/><Relationship Id="rId43" Type="http://schemas.openxmlformats.org/officeDocument/2006/relationships/tags" Target="../tags/tag333.xml"/><Relationship Id="rId48" Type="http://schemas.openxmlformats.org/officeDocument/2006/relationships/slideLayout" Target="../slideLayouts/slideLayout5.xml"/><Relationship Id="rId8" Type="http://schemas.openxmlformats.org/officeDocument/2006/relationships/tags" Target="../tags/tag298.xml"/><Relationship Id="rId51" Type="http://schemas.openxmlformats.org/officeDocument/2006/relationships/image" Target="../media/image5.emf"/><Relationship Id="rId3" Type="http://schemas.openxmlformats.org/officeDocument/2006/relationships/tags" Target="../tags/tag293.xml"/><Relationship Id="rId12" Type="http://schemas.openxmlformats.org/officeDocument/2006/relationships/tags" Target="../tags/tag302.xml"/><Relationship Id="rId17" Type="http://schemas.openxmlformats.org/officeDocument/2006/relationships/tags" Target="../tags/tag307.xml"/><Relationship Id="rId25" Type="http://schemas.openxmlformats.org/officeDocument/2006/relationships/tags" Target="../tags/tag315.xml"/><Relationship Id="rId33" Type="http://schemas.openxmlformats.org/officeDocument/2006/relationships/tags" Target="../tags/tag323.xml"/><Relationship Id="rId38" Type="http://schemas.openxmlformats.org/officeDocument/2006/relationships/tags" Target="../tags/tag328.xml"/><Relationship Id="rId46" Type="http://schemas.openxmlformats.org/officeDocument/2006/relationships/tags" Target="../tags/tag336.xml"/><Relationship Id="rId20" Type="http://schemas.openxmlformats.org/officeDocument/2006/relationships/tags" Target="../tags/tag310.xml"/><Relationship Id="rId41" Type="http://schemas.openxmlformats.org/officeDocument/2006/relationships/tags" Target="../tags/tag331.xml"/><Relationship Id="rId1" Type="http://schemas.openxmlformats.org/officeDocument/2006/relationships/tags" Target="../tags/tag291.xml"/><Relationship Id="rId6" Type="http://schemas.openxmlformats.org/officeDocument/2006/relationships/tags" Target="../tags/tag296.xml"/><Relationship Id="rId15" Type="http://schemas.openxmlformats.org/officeDocument/2006/relationships/tags" Target="../tags/tag305.xml"/><Relationship Id="rId23" Type="http://schemas.openxmlformats.org/officeDocument/2006/relationships/tags" Target="../tags/tag313.xml"/><Relationship Id="rId28" Type="http://schemas.openxmlformats.org/officeDocument/2006/relationships/tags" Target="../tags/tag318.xml"/><Relationship Id="rId36" Type="http://schemas.openxmlformats.org/officeDocument/2006/relationships/tags" Target="../tags/tag326.xml"/><Relationship Id="rId49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26" Type="http://schemas.openxmlformats.org/officeDocument/2006/relationships/tags" Target="../tags/tag363.xml"/><Relationship Id="rId21" Type="http://schemas.openxmlformats.org/officeDocument/2006/relationships/tags" Target="../tags/tag358.xml"/><Relationship Id="rId42" Type="http://schemas.openxmlformats.org/officeDocument/2006/relationships/tags" Target="../tags/tag379.xml"/><Relationship Id="rId47" Type="http://schemas.openxmlformats.org/officeDocument/2006/relationships/tags" Target="../tags/tag384.xml"/><Relationship Id="rId63" Type="http://schemas.openxmlformats.org/officeDocument/2006/relationships/tags" Target="../tags/tag400.xml"/><Relationship Id="rId68" Type="http://schemas.openxmlformats.org/officeDocument/2006/relationships/tags" Target="../tags/tag405.xml"/><Relationship Id="rId16" Type="http://schemas.openxmlformats.org/officeDocument/2006/relationships/tags" Target="../tags/tag353.xml"/><Relationship Id="rId11" Type="http://schemas.openxmlformats.org/officeDocument/2006/relationships/tags" Target="../tags/tag348.xml"/><Relationship Id="rId24" Type="http://schemas.openxmlformats.org/officeDocument/2006/relationships/tags" Target="../tags/tag361.xml"/><Relationship Id="rId32" Type="http://schemas.openxmlformats.org/officeDocument/2006/relationships/tags" Target="../tags/tag369.xml"/><Relationship Id="rId37" Type="http://schemas.openxmlformats.org/officeDocument/2006/relationships/tags" Target="../tags/tag374.xml"/><Relationship Id="rId40" Type="http://schemas.openxmlformats.org/officeDocument/2006/relationships/tags" Target="../tags/tag377.xml"/><Relationship Id="rId45" Type="http://schemas.openxmlformats.org/officeDocument/2006/relationships/tags" Target="../tags/tag382.xml"/><Relationship Id="rId53" Type="http://schemas.openxmlformats.org/officeDocument/2006/relationships/tags" Target="../tags/tag390.xml"/><Relationship Id="rId58" Type="http://schemas.openxmlformats.org/officeDocument/2006/relationships/tags" Target="../tags/tag395.xml"/><Relationship Id="rId66" Type="http://schemas.openxmlformats.org/officeDocument/2006/relationships/tags" Target="../tags/tag403.xml"/><Relationship Id="rId74" Type="http://schemas.openxmlformats.org/officeDocument/2006/relationships/image" Target="../media/image5.emf"/><Relationship Id="rId5" Type="http://schemas.openxmlformats.org/officeDocument/2006/relationships/tags" Target="../tags/tag342.xml"/><Relationship Id="rId61" Type="http://schemas.openxmlformats.org/officeDocument/2006/relationships/tags" Target="../tags/tag398.xml"/><Relationship Id="rId19" Type="http://schemas.openxmlformats.org/officeDocument/2006/relationships/tags" Target="../tags/tag356.xml"/><Relationship Id="rId14" Type="http://schemas.openxmlformats.org/officeDocument/2006/relationships/tags" Target="../tags/tag351.xml"/><Relationship Id="rId22" Type="http://schemas.openxmlformats.org/officeDocument/2006/relationships/tags" Target="../tags/tag359.xml"/><Relationship Id="rId27" Type="http://schemas.openxmlformats.org/officeDocument/2006/relationships/tags" Target="../tags/tag364.xml"/><Relationship Id="rId30" Type="http://schemas.openxmlformats.org/officeDocument/2006/relationships/tags" Target="../tags/tag367.xml"/><Relationship Id="rId35" Type="http://schemas.openxmlformats.org/officeDocument/2006/relationships/tags" Target="../tags/tag372.xml"/><Relationship Id="rId43" Type="http://schemas.openxmlformats.org/officeDocument/2006/relationships/tags" Target="../tags/tag380.xml"/><Relationship Id="rId48" Type="http://schemas.openxmlformats.org/officeDocument/2006/relationships/tags" Target="../tags/tag385.xml"/><Relationship Id="rId56" Type="http://schemas.openxmlformats.org/officeDocument/2006/relationships/tags" Target="../tags/tag393.xml"/><Relationship Id="rId64" Type="http://schemas.openxmlformats.org/officeDocument/2006/relationships/tags" Target="../tags/tag401.xml"/><Relationship Id="rId69" Type="http://schemas.openxmlformats.org/officeDocument/2006/relationships/tags" Target="../tags/tag406.xml"/><Relationship Id="rId77" Type="http://schemas.openxmlformats.org/officeDocument/2006/relationships/chart" Target="../charts/chart18.xml"/><Relationship Id="rId8" Type="http://schemas.openxmlformats.org/officeDocument/2006/relationships/tags" Target="../tags/tag345.xml"/><Relationship Id="rId51" Type="http://schemas.openxmlformats.org/officeDocument/2006/relationships/tags" Target="../tags/tag388.xml"/><Relationship Id="rId72" Type="http://schemas.openxmlformats.org/officeDocument/2006/relationships/slideLayout" Target="../slideLayouts/slideLayout5.xml"/><Relationship Id="rId3" Type="http://schemas.openxmlformats.org/officeDocument/2006/relationships/tags" Target="../tags/tag340.xml"/><Relationship Id="rId12" Type="http://schemas.openxmlformats.org/officeDocument/2006/relationships/tags" Target="../tags/tag349.xml"/><Relationship Id="rId17" Type="http://schemas.openxmlformats.org/officeDocument/2006/relationships/tags" Target="../tags/tag354.xml"/><Relationship Id="rId25" Type="http://schemas.openxmlformats.org/officeDocument/2006/relationships/tags" Target="../tags/tag362.xml"/><Relationship Id="rId33" Type="http://schemas.openxmlformats.org/officeDocument/2006/relationships/tags" Target="../tags/tag370.xml"/><Relationship Id="rId38" Type="http://schemas.openxmlformats.org/officeDocument/2006/relationships/tags" Target="../tags/tag375.xml"/><Relationship Id="rId46" Type="http://schemas.openxmlformats.org/officeDocument/2006/relationships/tags" Target="../tags/tag383.xml"/><Relationship Id="rId59" Type="http://schemas.openxmlformats.org/officeDocument/2006/relationships/tags" Target="../tags/tag396.xml"/><Relationship Id="rId67" Type="http://schemas.openxmlformats.org/officeDocument/2006/relationships/tags" Target="../tags/tag404.xml"/><Relationship Id="rId20" Type="http://schemas.openxmlformats.org/officeDocument/2006/relationships/tags" Target="../tags/tag357.xml"/><Relationship Id="rId41" Type="http://schemas.openxmlformats.org/officeDocument/2006/relationships/tags" Target="../tags/tag378.xml"/><Relationship Id="rId54" Type="http://schemas.openxmlformats.org/officeDocument/2006/relationships/tags" Target="../tags/tag391.xml"/><Relationship Id="rId62" Type="http://schemas.openxmlformats.org/officeDocument/2006/relationships/tags" Target="../tags/tag399.xml"/><Relationship Id="rId70" Type="http://schemas.openxmlformats.org/officeDocument/2006/relationships/tags" Target="../tags/tag407.xml"/><Relationship Id="rId75" Type="http://schemas.openxmlformats.org/officeDocument/2006/relationships/chart" Target="../charts/chart16.xml"/><Relationship Id="rId1" Type="http://schemas.openxmlformats.org/officeDocument/2006/relationships/tags" Target="../tags/tag338.xml"/><Relationship Id="rId6" Type="http://schemas.openxmlformats.org/officeDocument/2006/relationships/tags" Target="../tags/tag343.xml"/><Relationship Id="rId15" Type="http://schemas.openxmlformats.org/officeDocument/2006/relationships/tags" Target="../tags/tag352.xml"/><Relationship Id="rId23" Type="http://schemas.openxmlformats.org/officeDocument/2006/relationships/tags" Target="../tags/tag360.xml"/><Relationship Id="rId28" Type="http://schemas.openxmlformats.org/officeDocument/2006/relationships/tags" Target="../tags/tag365.xml"/><Relationship Id="rId36" Type="http://schemas.openxmlformats.org/officeDocument/2006/relationships/tags" Target="../tags/tag373.xml"/><Relationship Id="rId49" Type="http://schemas.openxmlformats.org/officeDocument/2006/relationships/tags" Target="../tags/tag386.xml"/><Relationship Id="rId57" Type="http://schemas.openxmlformats.org/officeDocument/2006/relationships/tags" Target="../tags/tag394.xml"/><Relationship Id="rId10" Type="http://schemas.openxmlformats.org/officeDocument/2006/relationships/tags" Target="../tags/tag347.xml"/><Relationship Id="rId31" Type="http://schemas.openxmlformats.org/officeDocument/2006/relationships/tags" Target="../tags/tag368.xml"/><Relationship Id="rId44" Type="http://schemas.openxmlformats.org/officeDocument/2006/relationships/tags" Target="../tags/tag381.xml"/><Relationship Id="rId52" Type="http://schemas.openxmlformats.org/officeDocument/2006/relationships/tags" Target="../tags/tag389.xml"/><Relationship Id="rId60" Type="http://schemas.openxmlformats.org/officeDocument/2006/relationships/tags" Target="../tags/tag397.xml"/><Relationship Id="rId65" Type="http://schemas.openxmlformats.org/officeDocument/2006/relationships/tags" Target="../tags/tag402.xml"/><Relationship Id="rId73" Type="http://schemas.openxmlformats.org/officeDocument/2006/relationships/oleObject" Target="../embeddings/oleObject14.bin"/><Relationship Id="rId78" Type="http://schemas.openxmlformats.org/officeDocument/2006/relationships/chart" Target="../charts/chart19.xml"/><Relationship Id="rId4" Type="http://schemas.openxmlformats.org/officeDocument/2006/relationships/tags" Target="../tags/tag341.xml"/><Relationship Id="rId9" Type="http://schemas.openxmlformats.org/officeDocument/2006/relationships/tags" Target="../tags/tag346.xml"/><Relationship Id="rId13" Type="http://schemas.openxmlformats.org/officeDocument/2006/relationships/tags" Target="../tags/tag350.xml"/><Relationship Id="rId18" Type="http://schemas.openxmlformats.org/officeDocument/2006/relationships/tags" Target="../tags/tag355.xml"/><Relationship Id="rId39" Type="http://schemas.openxmlformats.org/officeDocument/2006/relationships/tags" Target="../tags/tag376.xml"/><Relationship Id="rId34" Type="http://schemas.openxmlformats.org/officeDocument/2006/relationships/tags" Target="../tags/tag371.xml"/><Relationship Id="rId50" Type="http://schemas.openxmlformats.org/officeDocument/2006/relationships/tags" Target="../tags/tag387.xml"/><Relationship Id="rId55" Type="http://schemas.openxmlformats.org/officeDocument/2006/relationships/tags" Target="../tags/tag392.xml"/><Relationship Id="rId76" Type="http://schemas.openxmlformats.org/officeDocument/2006/relationships/chart" Target="../charts/chart17.xml"/><Relationship Id="rId7" Type="http://schemas.openxmlformats.org/officeDocument/2006/relationships/tags" Target="../tags/tag344.xml"/><Relationship Id="rId71" Type="http://schemas.openxmlformats.org/officeDocument/2006/relationships/tags" Target="../tags/tag408.xml"/><Relationship Id="rId2" Type="http://schemas.openxmlformats.org/officeDocument/2006/relationships/tags" Target="../tags/tag339.xml"/><Relationship Id="rId29" Type="http://schemas.openxmlformats.org/officeDocument/2006/relationships/tags" Target="../tags/tag36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416.xml"/><Relationship Id="rId13" Type="http://schemas.openxmlformats.org/officeDocument/2006/relationships/tags" Target="../tags/tag421.xml"/><Relationship Id="rId18" Type="http://schemas.openxmlformats.org/officeDocument/2006/relationships/tags" Target="../tags/tag426.xml"/><Relationship Id="rId3" Type="http://schemas.openxmlformats.org/officeDocument/2006/relationships/tags" Target="../tags/tag411.xml"/><Relationship Id="rId21" Type="http://schemas.openxmlformats.org/officeDocument/2006/relationships/image" Target="../media/image5.emf"/><Relationship Id="rId7" Type="http://schemas.openxmlformats.org/officeDocument/2006/relationships/tags" Target="../tags/tag415.xml"/><Relationship Id="rId12" Type="http://schemas.openxmlformats.org/officeDocument/2006/relationships/tags" Target="../tags/tag420.xml"/><Relationship Id="rId17" Type="http://schemas.openxmlformats.org/officeDocument/2006/relationships/tags" Target="../tags/tag425.xml"/><Relationship Id="rId2" Type="http://schemas.openxmlformats.org/officeDocument/2006/relationships/tags" Target="../tags/tag410.xml"/><Relationship Id="rId16" Type="http://schemas.openxmlformats.org/officeDocument/2006/relationships/tags" Target="../tags/tag424.xml"/><Relationship Id="rId20" Type="http://schemas.openxmlformats.org/officeDocument/2006/relationships/oleObject" Target="../embeddings/oleObject15.bin"/><Relationship Id="rId1" Type="http://schemas.openxmlformats.org/officeDocument/2006/relationships/tags" Target="../tags/tag409.xml"/><Relationship Id="rId6" Type="http://schemas.openxmlformats.org/officeDocument/2006/relationships/tags" Target="../tags/tag414.xml"/><Relationship Id="rId11" Type="http://schemas.openxmlformats.org/officeDocument/2006/relationships/tags" Target="../tags/tag419.xml"/><Relationship Id="rId5" Type="http://schemas.openxmlformats.org/officeDocument/2006/relationships/tags" Target="../tags/tag413.xml"/><Relationship Id="rId15" Type="http://schemas.openxmlformats.org/officeDocument/2006/relationships/tags" Target="../tags/tag423.xml"/><Relationship Id="rId10" Type="http://schemas.openxmlformats.org/officeDocument/2006/relationships/tags" Target="../tags/tag418.xml"/><Relationship Id="rId19" Type="http://schemas.openxmlformats.org/officeDocument/2006/relationships/slideLayout" Target="../slideLayouts/slideLayout5.xml"/><Relationship Id="rId4" Type="http://schemas.openxmlformats.org/officeDocument/2006/relationships/tags" Target="../tags/tag412.xml"/><Relationship Id="rId9" Type="http://schemas.openxmlformats.org/officeDocument/2006/relationships/tags" Target="../tags/tag417.xml"/><Relationship Id="rId14" Type="http://schemas.openxmlformats.org/officeDocument/2006/relationships/tags" Target="../tags/tag422.xml"/><Relationship Id="rId22" Type="http://schemas.openxmlformats.org/officeDocument/2006/relationships/chart" Target="../charts/chart2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5.svg"/><Relationship Id="rId12" Type="http://schemas.openxmlformats.org/officeDocument/2006/relationships/hyperlink" Target="https://ojs.aaai.org/index.php/ICWSM/article/view/7347" TargetMode="Externa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27.xml"/><Relationship Id="rId6" Type="http://schemas.openxmlformats.org/officeDocument/2006/relationships/image" Target="../media/image24.png"/><Relationship Id="rId11" Type="http://schemas.openxmlformats.org/officeDocument/2006/relationships/hyperlink" Target="https://pushshift.io/signup" TargetMode="External"/><Relationship Id="rId5" Type="http://schemas.openxmlformats.org/officeDocument/2006/relationships/image" Target="../media/image5.emf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440.xml"/><Relationship Id="rId18" Type="http://schemas.openxmlformats.org/officeDocument/2006/relationships/tags" Target="../tags/tag445.xml"/><Relationship Id="rId26" Type="http://schemas.openxmlformats.org/officeDocument/2006/relationships/tags" Target="../tags/tag453.xml"/><Relationship Id="rId3" Type="http://schemas.openxmlformats.org/officeDocument/2006/relationships/tags" Target="../tags/tag430.xml"/><Relationship Id="rId21" Type="http://schemas.openxmlformats.org/officeDocument/2006/relationships/tags" Target="../tags/tag448.xml"/><Relationship Id="rId34" Type="http://schemas.openxmlformats.org/officeDocument/2006/relationships/chart" Target="../charts/chart21.xml"/><Relationship Id="rId7" Type="http://schemas.openxmlformats.org/officeDocument/2006/relationships/tags" Target="../tags/tag434.xml"/><Relationship Id="rId12" Type="http://schemas.openxmlformats.org/officeDocument/2006/relationships/tags" Target="../tags/tag439.xml"/><Relationship Id="rId17" Type="http://schemas.openxmlformats.org/officeDocument/2006/relationships/tags" Target="../tags/tag444.xml"/><Relationship Id="rId25" Type="http://schemas.openxmlformats.org/officeDocument/2006/relationships/tags" Target="../tags/tag452.xml"/><Relationship Id="rId33" Type="http://schemas.openxmlformats.org/officeDocument/2006/relationships/image" Target="../media/image5.emf"/><Relationship Id="rId2" Type="http://schemas.openxmlformats.org/officeDocument/2006/relationships/tags" Target="../tags/tag429.xml"/><Relationship Id="rId16" Type="http://schemas.openxmlformats.org/officeDocument/2006/relationships/tags" Target="../tags/tag443.xml"/><Relationship Id="rId20" Type="http://schemas.openxmlformats.org/officeDocument/2006/relationships/tags" Target="../tags/tag447.xml"/><Relationship Id="rId29" Type="http://schemas.openxmlformats.org/officeDocument/2006/relationships/tags" Target="../tags/tag456.xml"/><Relationship Id="rId1" Type="http://schemas.openxmlformats.org/officeDocument/2006/relationships/tags" Target="../tags/tag428.xml"/><Relationship Id="rId6" Type="http://schemas.openxmlformats.org/officeDocument/2006/relationships/tags" Target="../tags/tag433.xml"/><Relationship Id="rId11" Type="http://schemas.openxmlformats.org/officeDocument/2006/relationships/tags" Target="../tags/tag438.xml"/><Relationship Id="rId24" Type="http://schemas.openxmlformats.org/officeDocument/2006/relationships/tags" Target="../tags/tag451.xml"/><Relationship Id="rId32" Type="http://schemas.openxmlformats.org/officeDocument/2006/relationships/oleObject" Target="../embeddings/oleObject17.bin"/><Relationship Id="rId5" Type="http://schemas.openxmlformats.org/officeDocument/2006/relationships/tags" Target="../tags/tag432.xml"/><Relationship Id="rId15" Type="http://schemas.openxmlformats.org/officeDocument/2006/relationships/tags" Target="../tags/tag442.xml"/><Relationship Id="rId23" Type="http://schemas.openxmlformats.org/officeDocument/2006/relationships/tags" Target="../tags/tag450.xml"/><Relationship Id="rId28" Type="http://schemas.openxmlformats.org/officeDocument/2006/relationships/tags" Target="../tags/tag455.xml"/><Relationship Id="rId10" Type="http://schemas.openxmlformats.org/officeDocument/2006/relationships/tags" Target="../tags/tag437.xml"/><Relationship Id="rId19" Type="http://schemas.openxmlformats.org/officeDocument/2006/relationships/tags" Target="../tags/tag446.xml"/><Relationship Id="rId31" Type="http://schemas.openxmlformats.org/officeDocument/2006/relationships/notesSlide" Target="../notesSlides/notesSlide9.xml"/><Relationship Id="rId4" Type="http://schemas.openxmlformats.org/officeDocument/2006/relationships/tags" Target="../tags/tag431.xml"/><Relationship Id="rId9" Type="http://schemas.openxmlformats.org/officeDocument/2006/relationships/tags" Target="../tags/tag436.xml"/><Relationship Id="rId14" Type="http://schemas.openxmlformats.org/officeDocument/2006/relationships/tags" Target="../tags/tag441.xml"/><Relationship Id="rId22" Type="http://schemas.openxmlformats.org/officeDocument/2006/relationships/tags" Target="../tags/tag449.xml"/><Relationship Id="rId27" Type="http://schemas.openxmlformats.org/officeDocument/2006/relationships/tags" Target="../tags/tag454.xml"/><Relationship Id="rId30" Type="http://schemas.openxmlformats.org/officeDocument/2006/relationships/slideLayout" Target="../slideLayouts/slideLayout20.xml"/><Relationship Id="rId35" Type="http://schemas.openxmlformats.org/officeDocument/2006/relationships/chart" Target="../charts/chart22.xml"/><Relationship Id="rId8" Type="http://schemas.openxmlformats.org/officeDocument/2006/relationships/tags" Target="../tags/tag43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7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8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slideLayout" Target="../slideLayouts/slideLayout20.xml"/><Relationship Id="rId47" Type="http://schemas.openxmlformats.org/officeDocument/2006/relationships/image" Target="../media/image6.png"/><Relationship Id="rId50" Type="http://schemas.openxmlformats.org/officeDocument/2006/relationships/image" Target="../media/image8.png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image" Target="../media/image5.emf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chart" Target="../charts/chart2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oleObject" Target="../embeddings/oleObject3.bin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notesSlide" Target="../notesSlides/notesSlide1.xml"/><Relationship Id="rId48" Type="http://schemas.openxmlformats.org/officeDocument/2006/relationships/image" Target="../media/image7.png"/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chart" Target="../charts/chart1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1" Type="http://schemas.openxmlformats.org/officeDocument/2006/relationships/tags" Target="../tags/tag4.xml"/><Relationship Id="rId6" Type="http://schemas.openxmlformats.org/officeDocument/2006/relationships/tags" Target="../tags/tag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9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0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1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57.xml"/><Relationship Id="rId18" Type="http://schemas.openxmlformats.org/officeDocument/2006/relationships/tags" Target="../tags/tag62.xml"/><Relationship Id="rId26" Type="http://schemas.openxmlformats.org/officeDocument/2006/relationships/tags" Target="../tags/tag70.xml"/><Relationship Id="rId39" Type="http://schemas.openxmlformats.org/officeDocument/2006/relationships/oleObject" Target="../embeddings/oleObject4.bin"/><Relationship Id="rId21" Type="http://schemas.openxmlformats.org/officeDocument/2006/relationships/tags" Target="../tags/tag65.xml"/><Relationship Id="rId34" Type="http://schemas.openxmlformats.org/officeDocument/2006/relationships/tags" Target="../tags/tag78.xml"/><Relationship Id="rId42" Type="http://schemas.openxmlformats.org/officeDocument/2006/relationships/image" Target="../media/image9.png"/><Relationship Id="rId47" Type="http://schemas.openxmlformats.org/officeDocument/2006/relationships/image" Target="../media/image13.png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6" Type="http://schemas.openxmlformats.org/officeDocument/2006/relationships/tags" Target="../tags/tag60.xml"/><Relationship Id="rId29" Type="http://schemas.openxmlformats.org/officeDocument/2006/relationships/tags" Target="../tags/tag73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24" Type="http://schemas.openxmlformats.org/officeDocument/2006/relationships/tags" Target="../tags/tag68.xml"/><Relationship Id="rId32" Type="http://schemas.openxmlformats.org/officeDocument/2006/relationships/tags" Target="../tags/tag76.xml"/><Relationship Id="rId37" Type="http://schemas.openxmlformats.org/officeDocument/2006/relationships/slideLayout" Target="../slideLayouts/slideLayout5.xml"/><Relationship Id="rId40" Type="http://schemas.openxmlformats.org/officeDocument/2006/relationships/image" Target="../media/image1.emf"/><Relationship Id="rId45" Type="http://schemas.openxmlformats.org/officeDocument/2006/relationships/image" Target="../media/image11.png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23" Type="http://schemas.openxmlformats.org/officeDocument/2006/relationships/tags" Target="../tags/tag67.xml"/><Relationship Id="rId28" Type="http://schemas.openxmlformats.org/officeDocument/2006/relationships/tags" Target="../tags/tag72.xml"/><Relationship Id="rId36" Type="http://schemas.openxmlformats.org/officeDocument/2006/relationships/tags" Target="../tags/tag80.xml"/><Relationship Id="rId10" Type="http://schemas.openxmlformats.org/officeDocument/2006/relationships/tags" Target="../tags/tag54.xml"/><Relationship Id="rId19" Type="http://schemas.openxmlformats.org/officeDocument/2006/relationships/tags" Target="../tags/tag63.xml"/><Relationship Id="rId31" Type="http://schemas.openxmlformats.org/officeDocument/2006/relationships/tags" Target="../tags/tag75.xml"/><Relationship Id="rId44" Type="http://schemas.openxmlformats.org/officeDocument/2006/relationships/chart" Target="../charts/chart4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Relationship Id="rId22" Type="http://schemas.openxmlformats.org/officeDocument/2006/relationships/tags" Target="../tags/tag66.xml"/><Relationship Id="rId27" Type="http://schemas.openxmlformats.org/officeDocument/2006/relationships/tags" Target="../tags/tag71.xml"/><Relationship Id="rId30" Type="http://schemas.openxmlformats.org/officeDocument/2006/relationships/tags" Target="../tags/tag74.xml"/><Relationship Id="rId35" Type="http://schemas.openxmlformats.org/officeDocument/2006/relationships/tags" Target="../tags/tag79.xml"/><Relationship Id="rId43" Type="http://schemas.openxmlformats.org/officeDocument/2006/relationships/image" Target="../media/image10.png"/><Relationship Id="rId48" Type="http://schemas.openxmlformats.org/officeDocument/2006/relationships/image" Target="../media/image14.png"/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12" Type="http://schemas.openxmlformats.org/officeDocument/2006/relationships/tags" Target="../tags/tag56.xml"/><Relationship Id="rId17" Type="http://schemas.openxmlformats.org/officeDocument/2006/relationships/tags" Target="../tags/tag61.xml"/><Relationship Id="rId25" Type="http://schemas.openxmlformats.org/officeDocument/2006/relationships/tags" Target="../tags/tag69.xml"/><Relationship Id="rId33" Type="http://schemas.openxmlformats.org/officeDocument/2006/relationships/tags" Target="../tags/tag77.xml"/><Relationship Id="rId38" Type="http://schemas.openxmlformats.org/officeDocument/2006/relationships/notesSlide" Target="../notesSlides/notesSlide2.xml"/><Relationship Id="rId46" Type="http://schemas.openxmlformats.org/officeDocument/2006/relationships/image" Target="../media/image12.png"/><Relationship Id="rId20" Type="http://schemas.openxmlformats.org/officeDocument/2006/relationships/tags" Target="../tags/tag64.xml"/><Relationship Id="rId41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26" Type="http://schemas.openxmlformats.org/officeDocument/2006/relationships/tags" Target="../tags/tag106.xml"/><Relationship Id="rId39" Type="http://schemas.openxmlformats.org/officeDocument/2006/relationships/tags" Target="../tags/tag119.xml"/><Relationship Id="rId21" Type="http://schemas.openxmlformats.org/officeDocument/2006/relationships/tags" Target="../tags/tag101.xml"/><Relationship Id="rId34" Type="http://schemas.openxmlformats.org/officeDocument/2006/relationships/tags" Target="../tags/tag114.xml"/><Relationship Id="rId42" Type="http://schemas.openxmlformats.org/officeDocument/2006/relationships/tags" Target="../tags/tag122.xml"/><Relationship Id="rId47" Type="http://schemas.openxmlformats.org/officeDocument/2006/relationships/tags" Target="../tags/tag127.xml"/><Relationship Id="rId50" Type="http://schemas.openxmlformats.org/officeDocument/2006/relationships/slideLayout" Target="../slideLayouts/slideLayout5.xml"/><Relationship Id="rId55" Type="http://schemas.openxmlformats.org/officeDocument/2006/relationships/chart" Target="../charts/chart6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6" Type="http://schemas.openxmlformats.org/officeDocument/2006/relationships/tags" Target="../tags/tag96.xml"/><Relationship Id="rId29" Type="http://schemas.openxmlformats.org/officeDocument/2006/relationships/tags" Target="../tags/tag109.xml"/><Relationship Id="rId11" Type="http://schemas.openxmlformats.org/officeDocument/2006/relationships/tags" Target="../tags/tag91.xml"/><Relationship Id="rId24" Type="http://schemas.openxmlformats.org/officeDocument/2006/relationships/tags" Target="../tags/tag104.xml"/><Relationship Id="rId32" Type="http://schemas.openxmlformats.org/officeDocument/2006/relationships/tags" Target="../tags/tag112.xml"/><Relationship Id="rId37" Type="http://schemas.openxmlformats.org/officeDocument/2006/relationships/tags" Target="../tags/tag117.xml"/><Relationship Id="rId40" Type="http://schemas.openxmlformats.org/officeDocument/2006/relationships/tags" Target="../tags/tag120.xml"/><Relationship Id="rId45" Type="http://schemas.openxmlformats.org/officeDocument/2006/relationships/tags" Target="../tags/tag125.xml"/><Relationship Id="rId53" Type="http://schemas.openxmlformats.org/officeDocument/2006/relationships/image" Target="../media/image5.emf"/><Relationship Id="rId5" Type="http://schemas.openxmlformats.org/officeDocument/2006/relationships/tags" Target="../tags/tag85.xml"/><Relationship Id="rId10" Type="http://schemas.openxmlformats.org/officeDocument/2006/relationships/tags" Target="../tags/tag90.xml"/><Relationship Id="rId19" Type="http://schemas.openxmlformats.org/officeDocument/2006/relationships/tags" Target="../tags/tag99.xml"/><Relationship Id="rId31" Type="http://schemas.openxmlformats.org/officeDocument/2006/relationships/tags" Target="../tags/tag111.xml"/><Relationship Id="rId44" Type="http://schemas.openxmlformats.org/officeDocument/2006/relationships/tags" Target="../tags/tag124.xml"/><Relationship Id="rId52" Type="http://schemas.openxmlformats.org/officeDocument/2006/relationships/oleObject" Target="../embeddings/oleObject5.bin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tags" Target="../tags/tag94.xml"/><Relationship Id="rId22" Type="http://schemas.openxmlformats.org/officeDocument/2006/relationships/tags" Target="../tags/tag102.xml"/><Relationship Id="rId27" Type="http://schemas.openxmlformats.org/officeDocument/2006/relationships/tags" Target="../tags/tag107.xml"/><Relationship Id="rId30" Type="http://schemas.openxmlformats.org/officeDocument/2006/relationships/tags" Target="../tags/tag110.xml"/><Relationship Id="rId35" Type="http://schemas.openxmlformats.org/officeDocument/2006/relationships/tags" Target="../tags/tag115.xml"/><Relationship Id="rId43" Type="http://schemas.openxmlformats.org/officeDocument/2006/relationships/tags" Target="../tags/tag123.xml"/><Relationship Id="rId48" Type="http://schemas.openxmlformats.org/officeDocument/2006/relationships/tags" Target="../tags/tag128.xml"/><Relationship Id="rId8" Type="http://schemas.openxmlformats.org/officeDocument/2006/relationships/tags" Target="../tags/tag88.xml"/><Relationship Id="rId51" Type="http://schemas.openxmlformats.org/officeDocument/2006/relationships/notesSlide" Target="../notesSlides/notesSlide3.xml"/><Relationship Id="rId3" Type="http://schemas.openxmlformats.org/officeDocument/2006/relationships/tags" Target="../tags/tag83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5" Type="http://schemas.openxmlformats.org/officeDocument/2006/relationships/tags" Target="../tags/tag105.xml"/><Relationship Id="rId33" Type="http://schemas.openxmlformats.org/officeDocument/2006/relationships/tags" Target="../tags/tag113.xml"/><Relationship Id="rId38" Type="http://schemas.openxmlformats.org/officeDocument/2006/relationships/tags" Target="../tags/tag118.xml"/><Relationship Id="rId46" Type="http://schemas.openxmlformats.org/officeDocument/2006/relationships/tags" Target="../tags/tag126.xml"/><Relationship Id="rId20" Type="http://schemas.openxmlformats.org/officeDocument/2006/relationships/tags" Target="../tags/tag100.xml"/><Relationship Id="rId41" Type="http://schemas.openxmlformats.org/officeDocument/2006/relationships/tags" Target="../tags/tag121.xml"/><Relationship Id="rId54" Type="http://schemas.openxmlformats.org/officeDocument/2006/relationships/chart" Target="../charts/chart5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5" Type="http://schemas.openxmlformats.org/officeDocument/2006/relationships/tags" Target="../tags/tag95.xml"/><Relationship Id="rId23" Type="http://schemas.openxmlformats.org/officeDocument/2006/relationships/tags" Target="../tags/tag103.xml"/><Relationship Id="rId28" Type="http://schemas.openxmlformats.org/officeDocument/2006/relationships/tags" Target="../tags/tag108.xml"/><Relationship Id="rId36" Type="http://schemas.openxmlformats.org/officeDocument/2006/relationships/tags" Target="../tags/tag116.xml"/><Relationship Id="rId49" Type="http://schemas.openxmlformats.org/officeDocument/2006/relationships/tags" Target="../tags/tag1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0.xml"/><Relationship Id="rId4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1.xml"/><Relationship Id="rId6" Type="http://schemas.openxmlformats.org/officeDocument/2006/relationships/image" Target="../media/image140.png"/><Relationship Id="rId11" Type="http://schemas.openxmlformats.org/officeDocument/2006/relationships/image" Target="../media/image19.png"/><Relationship Id="rId5" Type="http://schemas.openxmlformats.org/officeDocument/2006/relationships/image" Target="../media/image1.emf"/><Relationship Id="rId15" Type="http://schemas.openxmlformats.org/officeDocument/2006/relationships/image" Target="../media/image23.png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44.xml"/><Relationship Id="rId18" Type="http://schemas.openxmlformats.org/officeDocument/2006/relationships/tags" Target="../tags/tag149.xml"/><Relationship Id="rId26" Type="http://schemas.openxmlformats.org/officeDocument/2006/relationships/tags" Target="../tags/tag157.xml"/><Relationship Id="rId3" Type="http://schemas.openxmlformats.org/officeDocument/2006/relationships/tags" Target="../tags/tag134.xml"/><Relationship Id="rId21" Type="http://schemas.openxmlformats.org/officeDocument/2006/relationships/tags" Target="../tags/tag152.xml"/><Relationship Id="rId34" Type="http://schemas.openxmlformats.org/officeDocument/2006/relationships/chart" Target="../charts/chart7.xml"/><Relationship Id="rId7" Type="http://schemas.openxmlformats.org/officeDocument/2006/relationships/tags" Target="../tags/tag138.xml"/><Relationship Id="rId12" Type="http://schemas.openxmlformats.org/officeDocument/2006/relationships/tags" Target="../tags/tag143.xml"/><Relationship Id="rId17" Type="http://schemas.openxmlformats.org/officeDocument/2006/relationships/tags" Target="../tags/tag148.xml"/><Relationship Id="rId25" Type="http://schemas.openxmlformats.org/officeDocument/2006/relationships/tags" Target="../tags/tag156.xml"/><Relationship Id="rId33" Type="http://schemas.openxmlformats.org/officeDocument/2006/relationships/image" Target="../media/image5.emf"/><Relationship Id="rId2" Type="http://schemas.openxmlformats.org/officeDocument/2006/relationships/tags" Target="../tags/tag133.xml"/><Relationship Id="rId16" Type="http://schemas.openxmlformats.org/officeDocument/2006/relationships/tags" Target="../tags/tag147.xml"/><Relationship Id="rId20" Type="http://schemas.openxmlformats.org/officeDocument/2006/relationships/tags" Target="../tags/tag151.xml"/><Relationship Id="rId29" Type="http://schemas.openxmlformats.org/officeDocument/2006/relationships/tags" Target="../tags/tag160.xml"/><Relationship Id="rId1" Type="http://schemas.openxmlformats.org/officeDocument/2006/relationships/tags" Target="../tags/tag132.xml"/><Relationship Id="rId6" Type="http://schemas.openxmlformats.org/officeDocument/2006/relationships/tags" Target="../tags/tag137.xml"/><Relationship Id="rId11" Type="http://schemas.openxmlformats.org/officeDocument/2006/relationships/tags" Target="../tags/tag142.xml"/><Relationship Id="rId24" Type="http://schemas.openxmlformats.org/officeDocument/2006/relationships/tags" Target="../tags/tag155.xml"/><Relationship Id="rId32" Type="http://schemas.openxmlformats.org/officeDocument/2006/relationships/oleObject" Target="../embeddings/oleObject8.bin"/><Relationship Id="rId5" Type="http://schemas.openxmlformats.org/officeDocument/2006/relationships/tags" Target="../tags/tag136.xml"/><Relationship Id="rId15" Type="http://schemas.openxmlformats.org/officeDocument/2006/relationships/tags" Target="../tags/tag146.xml"/><Relationship Id="rId23" Type="http://schemas.openxmlformats.org/officeDocument/2006/relationships/tags" Target="../tags/tag154.xml"/><Relationship Id="rId28" Type="http://schemas.openxmlformats.org/officeDocument/2006/relationships/tags" Target="../tags/tag159.xml"/><Relationship Id="rId10" Type="http://schemas.openxmlformats.org/officeDocument/2006/relationships/tags" Target="../tags/tag141.xml"/><Relationship Id="rId19" Type="http://schemas.openxmlformats.org/officeDocument/2006/relationships/tags" Target="../tags/tag150.xml"/><Relationship Id="rId31" Type="http://schemas.openxmlformats.org/officeDocument/2006/relationships/notesSlide" Target="../notesSlides/notesSlide5.xml"/><Relationship Id="rId4" Type="http://schemas.openxmlformats.org/officeDocument/2006/relationships/tags" Target="../tags/tag135.xml"/><Relationship Id="rId9" Type="http://schemas.openxmlformats.org/officeDocument/2006/relationships/tags" Target="../tags/tag140.xml"/><Relationship Id="rId14" Type="http://schemas.openxmlformats.org/officeDocument/2006/relationships/tags" Target="../tags/tag145.xml"/><Relationship Id="rId22" Type="http://schemas.openxmlformats.org/officeDocument/2006/relationships/tags" Target="../tags/tag153.xml"/><Relationship Id="rId27" Type="http://schemas.openxmlformats.org/officeDocument/2006/relationships/tags" Target="../tags/tag158.xml"/><Relationship Id="rId30" Type="http://schemas.openxmlformats.org/officeDocument/2006/relationships/slideLayout" Target="../slideLayouts/slideLayout5.xml"/><Relationship Id="rId8" Type="http://schemas.openxmlformats.org/officeDocument/2006/relationships/tags" Target="../tags/tag139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tags" Target="../tags/tag186.xml"/><Relationship Id="rId21" Type="http://schemas.openxmlformats.org/officeDocument/2006/relationships/tags" Target="../tags/tag181.xml"/><Relationship Id="rId42" Type="http://schemas.openxmlformats.org/officeDocument/2006/relationships/tags" Target="../tags/tag202.xml"/><Relationship Id="rId47" Type="http://schemas.openxmlformats.org/officeDocument/2006/relationships/tags" Target="../tags/tag207.xml"/><Relationship Id="rId63" Type="http://schemas.openxmlformats.org/officeDocument/2006/relationships/tags" Target="../tags/tag223.xml"/><Relationship Id="rId68" Type="http://schemas.openxmlformats.org/officeDocument/2006/relationships/tags" Target="../tags/tag228.xml"/><Relationship Id="rId16" Type="http://schemas.openxmlformats.org/officeDocument/2006/relationships/tags" Target="../tags/tag176.xml"/><Relationship Id="rId11" Type="http://schemas.openxmlformats.org/officeDocument/2006/relationships/tags" Target="../tags/tag171.xml"/><Relationship Id="rId24" Type="http://schemas.openxmlformats.org/officeDocument/2006/relationships/tags" Target="../tags/tag184.xml"/><Relationship Id="rId32" Type="http://schemas.openxmlformats.org/officeDocument/2006/relationships/tags" Target="../tags/tag192.xml"/><Relationship Id="rId37" Type="http://schemas.openxmlformats.org/officeDocument/2006/relationships/tags" Target="../tags/tag197.xml"/><Relationship Id="rId40" Type="http://schemas.openxmlformats.org/officeDocument/2006/relationships/tags" Target="../tags/tag200.xml"/><Relationship Id="rId45" Type="http://schemas.openxmlformats.org/officeDocument/2006/relationships/tags" Target="../tags/tag205.xml"/><Relationship Id="rId53" Type="http://schemas.openxmlformats.org/officeDocument/2006/relationships/tags" Target="../tags/tag213.xml"/><Relationship Id="rId58" Type="http://schemas.openxmlformats.org/officeDocument/2006/relationships/tags" Target="../tags/tag218.xml"/><Relationship Id="rId66" Type="http://schemas.openxmlformats.org/officeDocument/2006/relationships/tags" Target="../tags/tag226.xml"/><Relationship Id="rId74" Type="http://schemas.openxmlformats.org/officeDocument/2006/relationships/oleObject" Target="../embeddings/oleObject9.bin"/><Relationship Id="rId79" Type="http://schemas.openxmlformats.org/officeDocument/2006/relationships/chart" Target="../charts/chart11.xml"/><Relationship Id="rId5" Type="http://schemas.openxmlformats.org/officeDocument/2006/relationships/tags" Target="../tags/tag165.xml"/><Relationship Id="rId61" Type="http://schemas.openxmlformats.org/officeDocument/2006/relationships/tags" Target="../tags/tag221.xml"/><Relationship Id="rId19" Type="http://schemas.openxmlformats.org/officeDocument/2006/relationships/tags" Target="../tags/tag179.xml"/><Relationship Id="rId14" Type="http://schemas.openxmlformats.org/officeDocument/2006/relationships/tags" Target="../tags/tag174.xml"/><Relationship Id="rId22" Type="http://schemas.openxmlformats.org/officeDocument/2006/relationships/tags" Target="../tags/tag182.xml"/><Relationship Id="rId27" Type="http://schemas.openxmlformats.org/officeDocument/2006/relationships/tags" Target="../tags/tag187.xml"/><Relationship Id="rId30" Type="http://schemas.openxmlformats.org/officeDocument/2006/relationships/tags" Target="../tags/tag190.xml"/><Relationship Id="rId35" Type="http://schemas.openxmlformats.org/officeDocument/2006/relationships/tags" Target="../tags/tag195.xml"/><Relationship Id="rId43" Type="http://schemas.openxmlformats.org/officeDocument/2006/relationships/tags" Target="../tags/tag203.xml"/><Relationship Id="rId48" Type="http://schemas.openxmlformats.org/officeDocument/2006/relationships/tags" Target="../tags/tag208.xml"/><Relationship Id="rId56" Type="http://schemas.openxmlformats.org/officeDocument/2006/relationships/tags" Target="../tags/tag216.xml"/><Relationship Id="rId64" Type="http://schemas.openxmlformats.org/officeDocument/2006/relationships/tags" Target="../tags/tag224.xml"/><Relationship Id="rId69" Type="http://schemas.openxmlformats.org/officeDocument/2006/relationships/tags" Target="../tags/tag229.xml"/><Relationship Id="rId77" Type="http://schemas.openxmlformats.org/officeDocument/2006/relationships/chart" Target="../charts/chart9.xml"/><Relationship Id="rId8" Type="http://schemas.openxmlformats.org/officeDocument/2006/relationships/tags" Target="../tags/tag168.xml"/><Relationship Id="rId51" Type="http://schemas.openxmlformats.org/officeDocument/2006/relationships/tags" Target="../tags/tag211.xml"/><Relationship Id="rId72" Type="http://schemas.openxmlformats.org/officeDocument/2006/relationships/tags" Target="../tags/tag232.xml"/><Relationship Id="rId3" Type="http://schemas.openxmlformats.org/officeDocument/2006/relationships/tags" Target="../tags/tag163.xml"/><Relationship Id="rId12" Type="http://schemas.openxmlformats.org/officeDocument/2006/relationships/tags" Target="../tags/tag172.xml"/><Relationship Id="rId17" Type="http://schemas.openxmlformats.org/officeDocument/2006/relationships/tags" Target="../tags/tag177.xml"/><Relationship Id="rId25" Type="http://schemas.openxmlformats.org/officeDocument/2006/relationships/tags" Target="../tags/tag185.xml"/><Relationship Id="rId33" Type="http://schemas.openxmlformats.org/officeDocument/2006/relationships/tags" Target="../tags/tag193.xml"/><Relationship Id="rId38" Type="http://schemas.openxmlformats.org/officeDocument/2006/relationships/tags" Target="../tags/tag198.xml"/><Relationship Id="rId46" Type="http://schemas.openxmlformats.org/officeDocument/2006/relationships/tags" Target="../tags/tag206.xml"/><Relationship Id="rId59" Type="http://schemas.openxmlformats.org/officeDocument/2006/relationships/tags" Target="../tags/tag219.xml"/><Relationship Id="rId67" Type="http://schemas.openxmlformats.org/officeDocument/2006/relationships/tags" Target="../tags/tag227.xml"/><Relationship Id="rId20" Type="http://schemas.openxmlformats.org/officeDocument/2006/relationships/tags" Target="../tags/tag180.xml"/><Relationship Id="rId41" Type="http://schemas.openxmlformats.org/officeDocument/2006/relationships/tags" Target="../tags/tag201.xml"/><Relationship Id="rId54" Type="http://schemas.openxmlformats.org/officeDocument/2006/relationships/tags" Target="../tags/tag214.xml"/><Relationship Id="rId62" Type="http://schemas.openxmlformats.org/officeDocument/2006/relationships/tags" Target="../tags/tag222.xml"/><Relationship Id="rId70" Type="http://schemas.openxmlformats.org/officeDocument/2006/relationships/tags" Target="../tags/tag230.xml"/><Relationship Id="rId75" Type="http://schemas.openxmlformats.org/officeDocument/2006/relationships/image" Target="../media/image5.emf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15" Type="http://schemas.openxmlformats.org/officeDocument/2006/relationships/tags" Target="../tags/tag175.xml"/><Relationship Id="rId23" Type="http://schemas.openxmlformats.org/officeDocument/2006/relationships/tags" Target="../tags/tag183.xml"/><Relationship Id="rId28" Type="http://schemas.openxmlformats.org/officeDocument/2006/relationships/tags" Target="../tags/tag188.xml"/><Relationship Id="rId36" Type="http://schemas.openxmlformats.org/officeDocument/2006/relationships/tags" Target="../tags/tag196.xml"/><Relationship Id="rId49" Type="http://schemas.openxmlformats.org/officeDocument/2006/relationships/tags" Target="../tags/tag209.xml"/><Relationship Id="rId57" Type="http://schemas.openxmlformats.org/officeDocument/2006/relationships/tags" Target="../tags/tag217.xml"/><Relationship Id="rId10" Type="http://schemas.openxmlformats.org/officeDocument/2006/relationships/tags" Target="../tags/tag170.xml"/><Relationship Id="rId31" Type="http://schemas.openxmlformats.org/officeDocument/2006/relationships/tags" Target="../tags/tag191.xml"/><Relationship Id="rId44" Type="http://schemas.openxmlformats.org/officeDocument/2006/relationships/tags" Target="../tags/tag204.xml"/><Relationship Id="rId52" Type="http://schemas.openxmlformats.org/officeDocument/2006/relationships/tags" Target="../tags/tag212.xml"/><Relationship Id="rId60" Type="http://schemas.openxmlformats.org/officeDocument/2006/relationships/tags" Target="../tags/tag220.xml"/><Relationship Id="rId65" Type="http://schemas.openxmlformats.org/officeDocument/2006/relationships/tags" Target="../tags/tag225.xml"/><Relationship Id="rId73" Type="http://schemas.openxmlformats.org/officeDocument/2006/relationships/slideLayout" Target="../slideLayouts/slideLayout5.xml"/><Relationship Id="rId78" Type="http://schemas.openxmlformats.org/officeDocument/2006/relationships/chart" Target="../charts/chart10.xml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3" Type="http://schemas.openxmlformats.org/officeDocument/2006/relationships/tags" Target="../tags/tag173.xml"/><Relationship Id="rId18" Type="http://schemas.openxmlformats.org/officeDocument/2006/relationships/tags" Target="../tags/tag178.xml"/><Relationship Id="rId39" Type="http://schemas.openxmlformats.org/officeDocument/2006/relationships/tags" Target="../tags/tag199.xml"/><Relationship Id="rId34" Type="http://schemas.openxmlformats.org/officeDocument/2006/relationships/tags" Target="../tags/tag194.xml"/><Relationship Id="rId50" Type="http://schemas.openxmlformats.org/officeDocument/2006/relationships/tags" Target="../tags/tag210.xml"/><Relationship Id="rId55" Type="http://schemas.openxmlformats.org/officeDocument/2006/relationships/tags" Target="../tags/tag215.xml"/><Relationship Id="rId76" Type="http://schemas.openxmlformats.org/officeDocument/2006/relationships/chart" Target="../charts/chart8.xml"/><Relationship Id="rId7" Type="http://schemas.openxmlformats.org/officeDocument/2006/relationships/tags" Target="../tags/tag167.xml"/><Relationship Id="rId71" Type="http://schemas.openxmlformats.org/officeDocument/2006/relationships/tags" Target="../tags/tag231.xml"/><Relationship Id="rId2" Type="http://schemas.openxmlformats.org/officeDocument/2006/relationships/tags" Target="../tags/tag162.xml"/><Relationship Id="rId29" Type="http://schemas.openxmlformats.org/officeDocument/2006/relationships/tags" Target="../tags/tag18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13" Type="http://schemas.openxmlformats.org/officeDocument/2006/relationships/tags" Target="../tags/tag245.xml"/><Relationship Id="rId18" Type="http://schemas.openxmlformats.org/officeDocument/2006/relationships/tags" Target="../tags/tag250.xml"/><Relationship Id="rId26" Type="http://schemas.openxmlformats.org/officeDocument/2006/relationships/tags" Target="../tags/tag258.xml"/><Relationship Id="rId3" Type="http://schemas.openxmlformats.org/officeDocument/2006/relationships/tags" Target="../tags/tag235.xml"/><Relationship Id="rId21" Type="http://schemas.openxmlformats.org/officeDocument/2006/relationships/tags" Target="../tags/tag253.xml"/><Relationship Id="rId7" Type="http://schemas.openxmlformats.org/officeDocument/2006/relationships/tags" Target="../tags/tag239.xml"/><Relationship Id="rId12" Type="http://schemas.openxmlformats.org/officeDocument/2006/relationships/tags" Target="../tags/tag244.xml"/><Relationship Id="rId17" Type="http://schemas.openxmlformats.org/officeDocument/2006/relationships/tags" Target="../tags/tag249.xml"/><Relationship Id="rId25" Type="http://schemas.openxmlformats.org/officeDocument/2006/relationships/tags" Target="../tags/tag257.xml"/><Relationship Id="rId2" Type="http://schemas.openxmlformats.org/officeDocument/2006/relationships/tags" Target="../tags/tag234.xml"/><Relationship Id="rId16" Type="http://schemas.openxmlformats.org/officeDocument/2006/relationships/tags" Target="../tags/tag248.xml"/><Relationship Id="rId20" Type="http://schemas.openxmlformats.org/officeDocument/2006/relationships/tags" Target="../tags/tag252.xml"/><Relationship Id="rId29" Type="http://schemas.openxmlformats.org/officeDocument/2006/relationships/slideLayout" Target="../slideLayouts/slideLayout5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11" Type="http://schemas.openxmlformats.org/officeDocument/2006/relationships/tags" Target="../tags/tag243.xml"/><Relationship Id="rId24" Type="http://schemas.openxmlformats.org/officeDocument/2006/relationships/tags" Target="../tags/tag256.xml"/><Relationship Id="rId32" Type="http://schemas.openxmlformats.org/officeDocument/2006/relationships/chart" Target="../charts/chart12.xml"/><Relationship Id="rId5" Type="http://schemas.openxmlformats.org/officeDocument/2006/relationships/tags" Target="../tags/tag237.xml"/><Relationship Id="rId15" Type="http://schemas.openxmlformats.org/officeDocument/2006/relationships/tags" Target="../tags/tag247.xml"/><Relationship Id="rId23" Type="http://schemas.openxmlformats.org/officeDocument/2006/relationships/tags" Target="../tags/tag255.xml"/><Relationship Id="rId28" Type="http://schemas.openxmlformats.org/officeDocument/2006/relationships/tags" Target="../tags/tag260.xml"/><Relationship Id="rId10" Type="http://schemas.openxmlformats.org/officeDocument/2006/relationships/tags" Target="../tags/tag242.xml"/><Relationship Id="rId19" Type="http://schemas.openxmlformats.org/officeDocument/2006/relationships/tags" Target="../tags/tag251.xml"/><Relationship Id="rId31" Type="http://schemas.openxmlformats.org/officeDocument/2006/relationships/image" Target="../media/image5.emf"/><Relationship Id="rId4" Type="http://schemas.openxmlformats.org/officeDocument/2006/relationships/tags" Target="../tags/tag236.xml"/><Relationship Id="rId9" Type="http://schemas.openxmlformats.org/officeDocument/2006/relationships/tags" Target="../tags/tag241.xml"/><Relationship Id="rId14" Type="http://schemas.openxmlformats.org/officeDocument/2006/relationships/tags" Target="../tags/tag246.xml"/><Relationship Id="rId22" Type="http://schemas.openxmlformats.org/officeDocument/2006/relationships/tags" Target="../tags/tag254.xml"/><Relationship Id="rId27" Type="http://schemas.openxmlformats.org/officeDocument/2006/relationships/tags" Target="../tags/tag259.xml"/><Relationship Id="rId30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E005883-B97F-6F7B-4693-6CF561E559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240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5" imgH="312" progId="TCLayout.ActiveDocument.1">
                  <p:embed/>
                </p:oleObj>
              </mc:Choice>
              <mc:Fallback>
                <p:oleObj name="think-cell Slide" r:id="rId3" imgW="305" imgH="31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E005883-B97F-6F7B-4693-6CF561E55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99132"/>
            <a:ext cx="7772400" cy="1834618"/>
          </a:xfrm>
        </p:spPr>
        <p:txBody>
          <a:bodyPr vert="horz"/>
          <a:lstStyle/>
          <a:p>
            <a:r>
              <a:rPr lang="en-US" dirty="0"/>
              <a:t>Engagement Substitution on Social Forums:</a:t>
            </a:r>
            <a:br>
              <a:rPr lang="en-US" dirty="0"/>
            </a:br>
            <a:r>
              <a:rPr lang="en-US" dirty="0"/>
              <a:t>The Case of Meme Stocks and Reddi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971888"/>
            <a:ext cx="4477626" cy="918772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en-US" dirty="0"/>
              <a:t>KS Economic Research Team</a:t>
            </a:r>
          </a:p>
          <a:p>
            <a:pPr>
              <a:spcBef>
                <a:spcPts val="300"/>
              </a:spcBef>
            </a:pPr>
            <a:endParaRPr lang="en-US" dirty="0"/>
          </a:p>
          <a:p>
            <a:pPr>
              <a:spcBef>
                <a:spcPts val="300"/>
              </a:spcBef>
            </a:pPr>
            <a:endParaRPr lang="en-US" dirty="0"/>
          </a:p>
          <a:p>
            <a:pPr>
              <a:spcBef>
                <a:spcPts val="300"/>
              </a:spcBef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November 6, 2023</a:t>
            </a:r>
          </a:p>
        </p:txBody>
      </p:sp>
    </p:spTree>
    <p:extLst>
      <p:ext uri="{BB962C8B-B14F-4D97-AF65-F5344CB8AC3E}">
        <p14:creationId xmlns:p14="http://schemas.microsoft.com/office/powerpoint/2010/main" val="30172635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5313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606" imgH="608" progId="TCLayout.ActiveDocument.1">
                  <p:embed/>
                </p:oleObj>
              </mc:Choice>
              <mc:Fallback>
                <p:oleObj name="think-cell Slide" r:id="rId32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124BE8A7-602C-533A-CC2D-D853C7B413CE}"/>
              </a:ext>
            </a:extLst>
          </p:cNvPr>
          <p:cNvSpPr/>
          <p:nvPr/>
        </p:nvSpPr>
        <p:spPr bwMode="auto">
          <a:xfrm>
            <a:off x="4606238" y="1190625"/>
            <a:ext cx="128032" cy="3047560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However, the opposite was true for the engaged users who substituted during the shock and engaged less following the shoc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0</a:t>
            </a:fld>
            <a:endParaRPr lang="en-US"/>
          </a:p>
        </p:txBody>
      </p: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3FF296D6-5A42-FE55-995F-A8A6EA7D36B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4147903"/>
              </p:ext>
            </p:extLst>
          </p:nvPr>
        </p:nvGraphicFramePr>
        <p:xfrm>
          <a:off x="663575" y="1184275"/>
          <a:ext cx="8116888" cy="3140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C735045-FABA-829B-FD77-E85D658B983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08000" y="428466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088B1D1-67F2-4E77-882D-2D3A4E310E4E}" type="datetime'J''''u''''''''''l'''''''''''' 2''''''''02''0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0A6A0470-B730-2571-9AB5-94004F2E877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31950" y="4284663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0704ECD-E867-4DB9-A4E9-F4CA6DBC9B30}" type="datetime'''''S''''''''''''''e''''''''''p'''''' ''20''2''0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557A04B7-9ED9-F38E-C478-DAF71E85F68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67013" y="4284663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586D181-B7A7-405F-9706-D738E9F25EC0}" type="datetime'N''''''''''o''v'''' ''''''''''''2''''''''0''''''2''0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3A7B0B4-02C3-7212-A4C1-3DACB75DB51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13188" y="4284663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1F6CA1-1F89-40DD-A425-D5DCFD7E2044}" type="datetime'''''J''''an'''''''''''' ''''202''''''''''''''1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AB9A74F5-3B4D-54FC-0620-D43A17853DA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005388" y="4284663"/>
            <a:ext cx="533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D0D0BB-2EE3-4607-8C44-836BA2A01A1A}" type="datetime'Ma''''r'''' ''''2''''''''0''''''''21''''''''''''''''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2D5CBAF3-7C62-C758-A700-363AAE1713B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130925" y="4284663"/>
            <a:ext cx="554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C29EF8-1D74-4E61-9283-50EB490077AD}" type="datetime'''''''''''''M''''''''''''''ay'' ''''''''''''''2''02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DBD7D37A-85FC-E41E-1DAB-67BF66904DD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05675" y="428466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D0822C-50FD-4752-8C1D-986D5F412ACC}" type="datetime'J''''''''''''u''''''''''l'''''' ''''20''''''''''2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2C29977E-FFCD-1971-65A7-4CE5E9356A2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429625" y="4284663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BABE680-C71A-45A6-B531-36EAF9B43A77}" type="datetime'Sep'''''''''''''''''''''''''''''''''''' ''''''20''2''''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1CD5682-5FE1-914D-4BC8-D8F6B12D837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5775" y="41656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FDA9423-84A2-46FA-B132-1EADF3715DA8}" type="datetime'''''''''''''''''''''''''0''''''''''''''''.''''''0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00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CEF80BE-7B2F-3E62-1C65-69932E66560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5775" y="38354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5642AE7-AA45-425D-B02E-A00D50EDECD8}" type="datetime'0''''''''''.''''''''''''''5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100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D20957B-5512-ED99-3039-05B7FB98ED2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5775" y="35052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BE13EB5-703D-4C24-A943-33335D2B1728}" type="datetime'''''''''1''''''''''''''''''''.''''''''''''''''''0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169D307-FBDB-1680-67A6-9A48634F299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5775" y="3173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8506102-2EA9-4908-82B4-AA30AC01E0BF}" type="datetime'''1.''5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US" sz="100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18D2D2A1-0008-B120-EE69-52135B1D984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5775" y="28432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33625FF-EACA-49EB-BDC4-FC66FBC38665}" type="datetime'''''''''''''''''''''''2''.''''''0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US" sz="10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75D0B233-942A-E575-8677-3CF4707160C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5775" y="25130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31B074F-F3F5-4200-83E8-FFBDBE1AED7A}" type="datetime'''''''2''''''''''''''''''.5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5</a:t>
            </a:fld>
            <a:endParaRPr lang="en-US" sz="100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ABC0D89-7B2E-CC73-4338-0E5EDFB98E1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5775" y="21828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7571582-CBD6-43A2-B201-0908A8F3FA83}" type="datetime'''''''''''3''''''''''''''.''''''''''''0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0</a:t>
            </a:fld>
            <a:endParaRPr lang="en-US" sz="100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0CD33574-45BE-06DD-8186-BFC3A1E61F5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5775" y="18510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1A5BC56-3B2E-4B38-8249-6022A8555406}" type="datetime'''3''''''.''''5''''''''''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5</a:t>
            </a:fld>
            <a:endParaRPr lang="en-US" sz="10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5E09A1CD-C317-602C-D005-D80C93EF858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5775" y="15208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567B43A-5C99-49F3-9810-6AE60463A647}" type="datetime'''''''''''4''''.''0''''''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.0</a:t>
            </a:fld>
            <a:endParaRPr lang="en-US" sz="100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D09335B-2556-F829-E700-627535EAE7F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85775" y="11906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5380AC0-C8F8-460D-BBA2-BD579CFF73A0}" type="datetime'''''''''''''''''''''''''''''''4.5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.5</a:t>
            </a:fld>
            <a:endParaRPr lang="en-US" sz="1000"/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B26F025-9A09-E072-78A1-D5D33DD1BD94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5462588" y="1295400"/>
            <a:ext cx="209550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75D6D69-C424-59AF-67E2-A35ED3860D3C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5462588" y="1468438"/>
            <a:ext cx="209550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EA309A2-76DE-E331-7C55-77152074CB4E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5462588" y="1641475"/>
            <a:ext cx="209550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1532CAFA-E3EB-6E74-F6C9-E74A196E8236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5529263" y="1257300"/>
            <a:ext cx="76200" cy="76200"/>
          </a:xfrm>
          <a:prstGeom prst="ellipse">
            <a:avLst/>
          </a:prstGeom>
          <a:solidFill>
            <a:srgbClr val="FF5700"/>
          </a:solidFill>
          <a:ln w="9525" cmpd="sng" algn="ctr">
            <a:solidFill>
              <a:srgbClr val="FF5700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E83EE865-230B-1B7C-BD66-309649E4A284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5529263" y="1430338"/>
            <a:ext cx="76200" cy="76200"/>
          </a:xfrm>
          <a:prstGeom prst="ellipse">
            <a:avLst/>
          </a:prstGeom>
          <a:solidFill>
            <a:schemeClr val="tx2"/>
          </a:solidFill>
          <a:ln w="9525" cmpd="sng" algn="ctr">
            <a:solidFill>
              <a:schemeClr val="tx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53465EF-8170-64F8-3CB1-82B65F9593E5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5529263" y="1603375"/>
            <a:ext cx="76200" cy="76200"/>
          </a:xfrm>
          <a:prstGeom prst="ellipse">
            <a:avLst/>
          </a:prstGeom>
          <a:solidFill>
            <a:schemeClr val="bg2"/>
          </a:solidFill>
          <a:ln w="9525" cmpd="sng" algn="ctr">
            <a:solidFill>
              <a:schemeClr val="bg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8FB56EDF-F098-1FCA-9DC5-6AB0AA6E7ED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732463" y="1238250"/>
            <a:ext cx="16113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D3559D8-0CEF-4359-AFB9-6ADA48B7DF16}" type="datetime'Me''an'' comm''ent''s'' o''n ''r/wa''''''lls''t''reet''bet''s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80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466F1C1-3FFB-67E5-0773-38D976CE6C2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732463" y="1411288"/>
            <a:ext cx="1789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F647B1F-75C3-4659-9BEE-82E08146C085}" type="datetime'Mean com''m''ent''s on a''''ll ot''''h''er s''u''b''reddi''ts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80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F0E8C168-09FF-4DD1-021F-B5AFE1EEFE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732463" y="1584325"/>
            <a:ext cx="9763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7ACF1E6-F90C-494A-A3A6-5DAE26000B89}" type="datetime'Me''''''a''''n ''''tot''al'''' ''com''m''''e''''''nt''''s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800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E034658-FEF3-0FC0-A33B-D5F9190493CD}"/>
              </a:ext>
            </a:extLst>
          </p:cNvPr>
          <p:cNvSpPr/>
          <p:nvPr/>
        </p:nvSpPr>
        <p:spPr bwMode="auto">
          <a:xfrm>
            <a:off x="746125" y="864797"/>
            <a:ext cx="4851400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Quartile #4 of pre-shock engagement of pre-shock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ubstituted engagement during the shocked period away from other subreddits</a:t>
            </a: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7C46DA93-C8C0-97EB-15E0-D2C903A8791C}"/>
              </a:ext>
            </a:extLst>
          </p:cNvPr>
          <p:cNvCxnSpPr>
            <a:cxnSpLocks/>
          </p:cNvCxnSpPr>
          <p:nvPr/>
        </p:nvCxnSpPr>
        <p:spPr>
          <a:xfrm>
            <a:off x="819150" y="1895475"/>
            <a:ext cx="3764761" cy="0"/>
          </a:xfrm>
          <a:prstGeom prst="line">
            <a:avLst/>
          </a:prstGeom>
          <a:ln w="12700" cmpd="sng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68F61E72-56A0-7DE6-36D8-78E3B8FA019D}"/>
              </a:ext>
            </a:extLst>
          </p:cNvPr>
          <p:cNvSpPr/>
          <p:nvPr/>
        </p:nvSpPr>
        <p:spPr bwMode="auto">
          <a:xfrm>
            <a:off x="796941" y="1383727"/>
            <a:ext cx="949293" cy="455608"/>
          </a:xfrm>
          <a:prstGeom prst="roundRect">
            <a:avLst>
              <a:gd name="adj" fmla="val 12745"/>
            </a:avLst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3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.54</a:t>
            </a:r>
          </a:p>
          <a:p>
            <a:pPr algn="ct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pre-shock mean total comments</a:t>
            </a: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20A52052-913C-9D61-CD20-9C38ACEC3CA3}"/>
              </a:ext>
            </a:extLst>
          </p:cNvPr>
          <p:cNvCxnSpPr>
            <a:cxnSpLocks/>
          </p:cNvCxnSpPr>
          <p:nvPr/>
        </p:nvCxnSpPr>
        <p:spPr>
          <a:xfrm>
            <a:off x="4725139" y="2240976"/>
            <a:ext cx="3967552" cy="0"/>
          </a:xfrm>
          <a:prstGeom prst="line">
            <a:avLst/>
          </a:prstGeom>
          <a:ln w="12700" cmpd="sng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1388A7B0-750E-9FCA-240F-140E4B444E5A}"/>
              </a:ext>
            </a:extLst>
          </p:cNvPr>
          <p:cNvSpPr/>
          <p:nvPr/>
        </p:nvSpPr>
        <p:spPr bwMode="auto">
          <a:xfrm>
            <a:off x="7668419" y="1711678"/>
            <a:ext cx="1044224" cy="485775"/>
          </a:xfrm>
          <a:prstGeom prst="roundRect">
            <a:avLst>
              <a:gd name="adj" fmla="val 12745"/>
            </a:avLst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3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.03</a:t>
            </a:r>
          </a:p>
          <a:p>
            <a:pPr algn="ct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post-shock mean total comments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5E25DC6E-B892-489F-DAFA-0C6E723CBB17}"/>
              </a:ext>
            </a:extLst>
          </p:cNvPr>
          <p:cNvCxnSpPr>
            <a:cxnSpLocks/>
          </p:cNvCxnSpPr>
          <p:nvPr/>
        </p:nvCxnSpPr>
        <p:spPr>
          <a:xfrm flipH="1" flipV="1">
            <a:off x="4734270" y="2197453"/>
            <a:ext cx="537818" cy="888569"/>
          </a:xfrm>
          <a:prstGeom prst="straightConnector1">
            <a:avLst/>
          </a:prstGeom>
          <a:ln w="12700" cmpd="sng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A31F15F3-83EC-6C11-77ED-D085BEAABEF3}"/>
              </a:ext>
            </a:extLst>
          </p:cNvPr>
          <p:cNvSpPr/>
          <p:nvPr/>
        </p:nvSpPr>
        <p:spPr bwMode="auto">
          <a:xfrm>
            <a:off x="5114632" y="2976686"/>
            <a:ext cx="2003304" cy="474974"/>
          </a:xfrm>
          <a:prstGeom prst="roundRect">
            <a:avLst/>
          </a:prstGeom>
          <a:solidFill>
            <a:schemeClr val="tx1">
              <a:lumMod val="20000"/>
              <a:lumOff val="80000"/>
            </a:schemeClr>
          </a:solidFill>
          <a:ln w="12700" cmpd="sng">
            <a:solidFill>
              <a:schemeClr val="tx1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i="1">
                <a:solidFill>
                  <a:schemeClr val="tx1"/>
                </a:solidFill>
                <a:ea typeface="Tahoma"/>
                <a:cs typeface="Tahoma"/>
              </a:rPr>
              <a:t>Seem to substitute comments during shock period</a:t>
            </a: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6766FD78-B71B-E238-501A-89291A3D908D}"/>
              </a:ext>
            </a:extLst>
          </p:cNvPr>
          <p:cNvSpPr/>
          <p:nvPr/>
        </p:nvSpPr>
        <p:spPr bwMode="auto">
          <a:xfrm rot="16200000">
            <a:off x="-766319" y="2609127"/>
            <a:ext cx="205453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2505523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466DD5E-99DC-B082-1170-C5CF8BC3EE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0049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66DD5E-99DC-B082-1170-C5CF8BC3E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20A2ABC7-28FA-8599-528B-6970920958A3}"/>
              </a:ext>
            </a:extLst>
          </p:cNvPr>
          <p:cNvSpPr/>
          <p:nvPr/>
        </p:nvSpPr>
        <p:spPr bwMode="auto">
          <a:xfrm>
            <a:off x="469609" y="1372617"/>
            <a:ext cx="3873789" cy="147880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Two conditions: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other subreddit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on any subreddit other than 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r/</a:t>
            </a:r>
            <a:r>
              <a:rPr lang="en-US" sz="1200" u="sng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</a:t>
            </a:r>
            <a:r>
              <a:rPr lang="en-US" sz="1200" i="1">
                <a:solidFill>
                  <a:schemeClr val="tx1"/>
                </a:solidFill>
                <a:ea typeface="Tahoma"/>
                <a:cs typeface="Tahoma"/>
              </a:rPr>
              <a:t>on 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2118B9-4361-25F6-E0A7-2F9AAB0D42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5" y="118873"/>
            <a:ext cx="8228013" cy="619316"/>
          </a:xfrm>
        </p:spPr>
        <p:txBody>
          <a:bodyPr vert="horz"/>
          <a:lstStyle/>
          <a:p>
            <a:r>
              <a:rPr lang="en-US"/>
              <a:t>So far we’ve looked at a broad group of users – what happens if we look at pre-existing r/</a:t>
            </a:r>
            <a:r>
              <a:rPr lang="en-US" err="1"/>
              <a:t>wallstreetbets</a:t>
            </a:r>
            <a:r>
              <a:rPr lang="en-US"/>
              <a:t> users v. new r/</a:t>
            </a:r>
            <a:r>
              <a:rPr lang="en-US" err="1"/>
              <a:t>wallstreetbets</a:t>
            </a:r>
            <a:r>
              <a:rPr lang="en-US"/>
              <a:t> users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5DD432-DD6C-A826-A56B-E990544DE9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9A3D4F8-6EAB-21D2-90B4-C1BF521F07A7}"/>
              </a:ext>
            </a:extLst>
          </p:cNvPr>
          <p:cNvSpPr/>
          <p:nvPr/>
        </p:nvSpPr>
        <p:spPr bwMode="auto">
          <a:xfrm>
            <a:off x="469610" y="829477"/>
            <a:ext cx="3873789" cy="42494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mpd="sng">
            <a:solidFill>
              <a:schemeClr val="tx1"/>
            </a:solidFill>
            <a:prstDash val="solid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Group A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:</a:t>
            </a:r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 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Pre-shock r/</a:t>
            </a:r>
            <a:r>
              <a:rPr lang="en-US" sz="1200" b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 commenter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BB33192-B479-E555-C3D7-3F455E84F1A9}"/>
              </a:ext>
            </a:extLst>
          </p:cNvPr>
          <p:cNvSpPr/>
          <p:nvPr/>
        </p:nvSpPr>
        <p:spPr bwMode="auto">
          <a:xfrm>
            <a:off x="4811718" y="829477"/>
            <a:ext cx="3886200" cy="42494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mpd="sng">
            <a:solidFill>
              <a:schemeClr val="tx1"/>
            </a:solidFill>
            <a:prstDash val="solid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Group B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:</a:t>
            </a:r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 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Post-shock r/</a:t>
            </a:r>
            <a:r>
              <a:rPr lang="en-US" sz="12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 commenters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CC8BAF7A-E6D3-30D3-89D8-20AE5CC6ECF1}"/>
              </a:ext>
            </a:extLst>
          </p:cNvPr>
          <p:cNvSpPr/>
          <p:nvPr/>
        </p:nvSpPr>
        <p:spPr bwMode="auto">
          <a:xfrm>
            <a:off x="4813011" y="1372617"/>
            <a:ext cx="3873789" cy="147880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Two conditions:</a:t>
            </a:r>
            <a:endParaRPr lang="en-US" sz="1200">
              <a:solidFill>
                <a:schemeClr val="accent5"/>
              </a:solidFill>
              <a:ea typeface="Tahoma"/>
              <a:cs typeface="Tahoma"/>
            </a:endParaRP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other subreddit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on any Subreddit other than 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ost-shock r/</a:t>
            </a:r>
            <a:r>
              <a:rPr lang="en-US" sz="1200" u="sng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</a:t>
            </a:r>
            <a:r>
              <a:rPr lang="en-US" sz="1200" i="1">
                <a:solidFill>
                  <a:schemeClr val="tx1"/>
                </a:solidFill>
                <a:ea typeface="Tahoma"/>
                <a:cs typeface="Tahoma"/>
              </a:rPr>
              <a:t>on r/</a:t>
            </a:r>
            <a:r>
              <a:rPr lang="en-US" sz="1200" i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after to the shock</a:t>
            </a:r>
          </a:p>
        </p:txBody>
      </p:sp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72895DDD-6EFA-E881-C9C9-2C56C47B0604}"/>
              </a:ext>
            </a:extLst>
          </p:cNvPr>
          <p:cNvSpPr/>
          <p:nvPr/>
        </p:nvSpPr>
        <p:spPr bwMode="auto">
          <a:xfrm>
            <a:off x="2407752" y="4333038"/>
            <a:ext cx="1115102" cy="146839"/>
          </a:xfrm>
          <a:prstGeom prst="round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4A0CCE41-6AA4-7C56-C43C-7FA2A64871D2}"/>
              </a:ext>
            </a:extLst>
          </p:cNvPr>
          <p:cNvSpPr>
            <a:spLocks noChangeAspect="1"/>
          </p:cNvSpPr>
          <p:nvPr/>
        </p:nvSpPr>
        <p:spPr bwMode="auto">
          <a:xfrm>
            <a:off x="1868025" y="3731800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DA9BAD49-72D7-510A-9135-4D0FE3B19BC7}"/>
              </a:ext>
            </a:extLst>
          </p:cNvPr>
          <p:cNvCxnSpPr>
            <a:cxnSpLocks/>
            <a:stCxn id="124" idx="2"/>
          </p:cNvCxnSpPr>
          <p:nvPr/>
        </p:nvCxnSpPr>
        <p:spPr>
          <a:xfrm>
            <a:off x="1868024" y="3779843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102ADD61-45F1-C8C6-D721-B5D11BDBD0DB}"/>
              </a:ext>
            </a:extLst>
          </p:cNvPr>
          <p:cNvCxnSpPr>
            <a:cxnSpLocks/>
          </p:cNvCxnSpPr>
          <p:nvPr/>
        </p:nvCxnSpPr>
        <p:spPr>
          <a:xfrm>
            <a:off x="2965304" y="3114006"/>
            <a:ext cx="0" cy="1365876"/>
          </a:xfrm>
          <a:prstGeom prst="line">
            <a:avLst/>
          </a:prstGeom>
          <a:ln w="19050" cmpd="sng">
            <a:solidFill>
              <a:srgbClr val="FF57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72F26C61-EE91-B1C6-024D-FD0101E7D76B}"/>
              </a:ext>
            </a:extLst>
          </p:cNvPr>
          <p:cNvCxnSpPr>
            <a:cxnSpLocks/>
            <a:stCxn id="124" idx="2"/>
          </p:cNvCxnSpPr>
          <p:nvPr/>
        </p:nvCxnSpPr>
        <p:spPr>
          <a:xfrm flipH="1">
            <a:off x="1593704" y="3779843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C837426F-984B-84A4-CE53-6BAFCA008EEC}"/>
              </a:ext>
            </a:extLst>
          </p:cNvPr>
          <p:cNvCxnSpPr>
            <a:cxnSpLocks/>
          </p:cNvCxnSpPr>
          <p:nvPr/>
        </p:nvCxnSpPr>
        <p:spPr>
          <a:xfrm>
            <a:off x="2965304" y="3779843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9" name="Oval 128">
            <a:extLst>
              <a:ext uri="{FF2B5EF4-FFF2-40B4-BE49-F238E27FC236}">
                <a16:creationId xmlns:a16="http://schemas.microsoft.com/office/drawing/2014/main" id="{4A307F7C-C350-D4F7-CBA5-E13E491EB480}"/>
              </a:ext>
            </a:extLst>
          </p:cNvPr>
          <p:cNvSpPr>
            <a:spLocks noChangeAspect="1"/>
          </p:cNvSpPr>
          <p:nvPr/>
        </p:nvSpPr>
        <p:spPr bwMode="auto">
          <a:xfrm>
            <a:off x="3966499" y="3731800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8AE75E9F-63EF-6925-F44C-3F4EF577EF65}"/>
              </a:ext>
            </a:extLst>
          </p:cNvPr>
          <p:cNvCxnSpPr>
            <a:cxnSpLocks/>
            <a:stCxn id="129" idx="6"/>
          </p:cNvCxnSpPr>
          <p:nvPr/>
        </p:nvCxnSpPr>
        <p:spPr>
          <a:xfrm>
            <a:off x="4062584" y="3779843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1" name="Oval 130">
            <a:extLst>
              <a:ext uri="{FF2B5EF4-FFF2-40B4-BE49-F238E27FC236}">
                <a16:creationId xmlns:a16="http://schemas.microsoft.com/office/drawing/2014/main" id="{2139A2AB-C1F5-BFB0-D3F2-0F4E1D77AE42}"/>
              </a:ext>
            </a:extLst>
          </p:cNvPr>
          <p:cNvSpPr>
            <a:spLocks noChangeAspect="1"/>
          </p:cNvSpPr>
          <p:nvPr/>
        </p:nvSpPr>
        <p:spPr bwMode="auto">
          <a:xfrm>
            <a:off x="1868025" y="3359716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6272E326-7CD9-A70C-1286-E941230589EF}"/>
              </a:ext>
            </a:extLst>
          </p:cNvPr>
          <p:cNvCxnSpPr>
            <a:cxnSpLocks/>
            <a:stCxn id="131" idx="2"/>
          </p:cNvCxnSpPr>
          <p:nvPr/>
        </p:nvCxnSpPr>
        <p:spPr>
          <a:xfrm>
            <a:off x="1868024" y="3407759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48043902-DB78-0B51-AB12-5682072EA5E9}"/>
              </a:ext>
            </a:extLst>
          </p:cNvPr>
          <p:cNvCxnSpPr>
            <a:cxnSpLocks/>
            <a:stCxn id="131" idx="2"/>
          </p:cNvCxnSpPr>
          <p:nvPr/>
        </p:nvCxnSpPr>
        <p:spPr>
          <a:xfrm flipH="1">
            <a:off x="1593704" y="3407759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6674860B-5595-A430-8501-EFEFAA43F0A1}"/>
              </a:ext>
            </a:extLst>
          </p:cNvPr>
          <p:cNvCxnSpPr>
            <a:cxnSpLocks/>
          </p:cNvCxnSpPr>
          <p:nvPr/>
        </p:nvCxnSpPr>
        <p:spPr>
          <a:xfrm>
            <a:off x="2965304" y="3407759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5" name="Oval 134">
            <a:extLst>
              <a:ext uri="{FF2B5EF4-FFF2-40B4-BE49-F238E27FC236}">
                <a16:creationId xmlns:a16="http://schemas.microsoft.com/office/drawing/2014/main" id="{F9CE0C06-EEB9-7D71-E93D-EE6D8177EC19}"/>
              </a:ext>
            </a:extLst>
          </p:cNvPr>
          <p:cNvSpPr>
            <a:spLocks noChangeAspect="1"/>
          </p:cNvSpPr>
          <p:nvPr/>
        </p:nvSpPr>
        <p:spPr bwMode="auto">
          <a:xfrm>
            <a:off x="3966499" y="3359716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648E02D4-5AE5-DE2C-4F47-4EFF83902157}"/>
              </a:ext>
            </a:extLst>
          </p:cNvPr>
          <p:cNvCxnSpPr>
            <a:cxnSpLocks/>
            <a:stCxn id="135" idx="6"/>
          </p:cNvCxnSpPr>
          <p:nvPr/>
        </p:nvCxnSpPr>
        <p:spPr>
          <a:xfrm>
            <a:off x="4062584" y="3407759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7" name="Right Brace 136">
            <a:extLst>
              <a:ext uri="{FF2B5EF4-FFF2-40B4-BE49-F238E27FC236}">
                <a16:creationId xmlns:a16="http://schemas.microsoft.com/office/drawing/2014/main" id="{560569F4-669D-4044-E0C8-89D19278F7B6}"/>
              </a:ext>
            </a:extLst>
          </p:cNvPr>
          <p:cNvSpPr/>
          <p:nvPr/>
        </p:nvSpPr>
        <p:spPr>
          <a:xfrm rot="16200000">
            <a:off x="2382001" y="2793671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EE164178-B4C2-7F85-4CEE-499A7DB7FDA5}"/>
              </a:ext>
            </a:extLst>
          </p:cNvPr>
          <p:cNvSpPr/>
          <p:nvPr/>
        </p:nvSpPr>
        <p:spPr bwMode="auto">
          <a:xfrm>
            <a:off x="625444" y="3335967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Other subreddit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39" name="Right Brace 138">
            <a:extLst>
              <a:ext uri="{FF2B5EF4-FFF2-40B4-BE49-F238E27FC236}">
                <a16:creationId xmlns:a16="http://schemas.microsoft.com/office/drawing/2014/main" id="{1C5056D3-BB52-87EA-2C8C-DB3138298B1E}"/>
              </a:ext>
            </a:extLst>
          </p:cNvPr>
          <p:cNvSpPr/>
          <p:nvPr/>
        </p:nvSpPr>
        <p:spPr>
          <a:xfrm rot="5400000">
            <a:off x="2382001" y="3356010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8483FE9C-DA73-BA06-094F-D3390EB6E124}"/>
              </a:ext>
            </a:extLst>
          </p:cNvPr>
          <p:cNvSpPr/>
          <p:nvPr/>
        </p:nvSpPr>
        <p:spPr bwMode="auto">
          <a:xfrm>
            <a:off x="1983445" y="292174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other subreddit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DE805542-2A38-3EAC-B67F-325F75B19319}"/>
              </a:ext>
            </a:extLst>
          </p:cNvPr>
          <p:cNvSpPr/>
          <p:nvPr/>
        </p:nvSpPr>
        <p:spPr bwMode="auto">
          <a:xfrm>
            <a:off x="2436137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re-shock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AD52C246-90A5-2A13-0D0C-83FBCAB13B2A}"/>
              </a:ext>
            </a:extLst>
          </p:cNvPr>
          <p:cNvSpPr/>
          <p:nvPr/>
        </p:nvSpPr>
        <p:spPr bwMode="auto">
          <a:xfrm>
            <a:off x="3008685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ost-shock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B379F32A-2ABE-3397-2488-BC5044752E5F}"/>
              </a:ext>
            </a:extLst>
          </p:cNvPr>
          <p:cNvSpPr/>
          <p:nvPr/>
        </p:nvSpPr>
        <p:spPr bwMode="auto">
          <a:xfrm>
            <a:off x="625444" y="3708050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E29E2C73-7203-35AB-64CE-476B67CE587F}"/>
              </a:ext>
            </a:extLst>
          </p:cNvPr>
          <p:cNvSpPr/>
          <p:nvPr/>
        </p:nvSpPr>
        <p:spPr bwMode="auto">
          <a:xfrm>
            <a:off x="1983445" y="396275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7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145" name="Rectangle: Rounded Corners 144">
            <a:extLst>
              <a:ext uri="{FF2B5EF4-FFF2-40B4-BE49-F238E27FC236}">
                <a16:creationId xmlns:a16="http://schemas.microsoft.com/office/drawing/2014/main" id="{6E72069D-BF33-3DE5-554F-3F0D0A12B127}"/>
              </a:ext>
            </a:extLst>
          </p:cNvPr>
          <p:cNvSpPr/>
          <p:nvPr/>
        </p:nvSpPr>
        <p:spPr bwMode="auto">
          <a:xfrm>
            <a:off x="6738179" y="4333038"/>
            <a:ext cx="1115102" cy="146839"/>
          </a:xfrm>
          <a:prstGeom prst="round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7C92B9C1-6FDF-B079-249D-06FB54B12B45}"/>
              </a:ext>
            </a:extLst>
          </p:cNvPr>
          <p:cNvSpPr>
            <a:spLocks noChangeAspect="1"/>
          </p:cNvSpPr>
          <p:nvPr/>
        </p:nvSpPr>
        <p:spPr bwMode="auto">
          <a:xfrm>
            <a:off x="6198452" y="3731800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6E5B355C-9DA7-7DAE-4899-E435B8121684}"/>
              </a:ext>
            </a:extLst>
          </p:cNvPr>
          <p:cNvCxnSpPr>
            <a:cxnSpLocks/>
            <a:stCxn id="146" idx="2"/>
          </p:cNvCxnSpPr>
          <p:nvPr/>
        </p:nvCxnSpPr>
        <p:spPr>
          <a:xfrm>
            <a:off x="6198451" y="3779843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B84F110C-0082-B103-13C1-B08E513C4A6D}"/>
              </a:ext>
            </a:extLst>
          </p:cNvPr>
          <p:cNvCxnSpPr>
            <a:cxnSpLocks/>
          </p:cNvCxnSpPr>
          <p:nvPr/>
        </p:nvCxnSpPr>
        <p:spPr>
          <a:xfrm>
            <a:off x="7295731" y="3114006"/>
            <a:ext cx="0" cy="1365876"/>
          </a:xfrm>
          <a:prstGeom prst="line">
            <a:avLst/>
          </a:prstGeom>
          <a:ln w="19050" cmpd="sng">
            <a:solidFill>
              <a:srgbClr val="FF57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Arrow Connector 148">
            <a:extLst>
              <a:ext uri="{FF2B5EF4-FFF2-40B4-BE49-F238E27FC236}">
                <a16:creationId xmlns:a16="http://schemas.microsoft.com/office/drawing/2014/main" id="{E019494C-75B0-239D-C5E7-746DBBC1D795}"/>
              </a:ext>
            </a:extLst>
          </p:cNvPr>
          <p:cNvCxnSpPr>
            <a:cxnSpLocks/>
            <a:stCxn id="146" idx="2"/>
          </p:cNvCxnSpPr>
          <p:nvPr/>
        </p:nvCxnSpPr>
        <p:spPr>
          <a:xfrm flipH="1">
            <a:off x="5924131" y="3779843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0A4F877C-A00C-0735-6B93-3ADB3F871019}"/>
              </a:ext>
            </a:extLst>
          </p:cNvPr>
          <p:cNvCxnSpPr>
            <a:cxnSpLocks/>
          </p:cNvCxnSpPr>
          <p:nvPr/>
        </p:nvCxnSpPr>
        <p:spPr>
          <a:xfrm>
            <a:off x="7295731" y="3779843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1" name="Oval 150">
            <a:extLst>
              <a:ext uri="{FF2B5EF4-FFF2-40B4-BE49-F238E27FC236}">
                <a16:creationId xmlns:a16="http://schemas.microsoft.com/office/drawing/2014/main" id="{C9546A6F-91BF-4A6B-378D-70E5C52E50FE}"/>
              </a:ext>
            </a:extLst>
          </p:cNvPr>
          <p:cNvSpPr>
            <a:spLocks noChangeAspect="1"/>
          </p:cNvSpPr>
          <p:nvPr/>
        </p:nvSpPr>
        <p:spPr bwMode="auto">
          <a:xfrm>
            <a:off x="8296926" y="3731800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52" name="Straight Arrow Connector 151">
            <a:extLst>
              <a:ext uri="{FF2B5EF4-FFF2-40B4-BE49-F238E27FC236}">
                <a16:creationId xmlns:a16="http://schemas.microsoft.com/office/drawing/2014/main" id="{DAC8A18E-53D5-BD94-5D8A-E364939DDF1E}"/>
              </a:ext>
            </a:extLst>
          </p:cNvPr>
          <p:cNvCxnSpPr>
            <a:cxnSpLocks/>
            <a:stCxn id="151" idx="6"/>
          </p:cNvCxnSpPr>
          <p:nvPr/>
        </p:nvCxnSpPr>
        <p:spPr>
          <a:xfrm>
            <a:off x="8393011" y="3779843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3" name="Oval 152">
            <a:extLst>
              <a:ext uri="{FF2B5EF4-FFF2-40B4-BE49-F238E27FC236}">
                <a16:creationId xmlns:a16="http://schemas.microsoft.com/office/drawing/2014/main" id="{99CDE047-1836-90E1-DBC7-911D70A7C9E8}"/>
              </a:ext>
            </a:extLst>
          </p:cNvPr>
          <p:cNvSpPr>
            <a:spLocks noChangeAspect="1"/>
          </p:cNvSpPr>
          <p:nvPr/>
        </p:nvSpPr>
        <p:spPr bwMode="auto">
          <a:xfrm>
            <a:off x="6198452" y="3359716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DD2F4874-2C20-1D77-31BC-1A33CACF89A7}"/>
              </a:ext>
            </a:extLst>
          </p:cNvPr>
          <p:cNvCxnSpPr>
            <a:cxnSpLocks/>
            <a:stCxn id="153" idx="2"/>
          </p:cNvCxnSpPr>
          <p:nvPr/>
        </p:nvCxnSpPr>
        <p:spPr>
          <a:xfrm>
            <a:off x="6198451" y="3407759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Arrow Connector 154">
            <a:extLst>
              <a:ext uri="{FF2B5EF4-FFF2-40B4-BE49-F238E27FC236}">
                <a16:creationId xmlns:a16="http://schemas.microsoft.com/office/drawing/2014/main" id="{8212E4B7-F416-0CDF-8A50-533233CD3E9C}"/>
              </a:ext>
            </a:extLst>
          </p:cNvPr>
          <p:cNvCxnSpPr>
            <a:cxnSpLocks/>
            <a:stCxn id="153" idx="2"/>
          </p:cNvCxnSpPr>
          <p:nvPr/>
        </p:nvCxnSpPr>
        <p:spPr>
          <a:xfrm flipH="1">
            <a:off x="5924131" y="3407759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C35C7164-7536-23FE-EE18-25C85C57B177}"/>
              </a:ext>
            </a:extLst>
          </p:cNvPr>
          <p:cNvCxnSpPr>
            <a:cxnSpLocks/>
          </p:cNvCxnSpPr>
          <p:nvPr/>
        </p:nvCxnSpPr>
        <p:spPr>
          <a:xfrm>
            <a:off x="7295731" y="3407759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7" name="Oval 156">
            <a:extLst>
              <a:ext uri="{FF2B5EF4-FFF2-40B4-BE49-F238E27FC236}">
                <a16:creationId xmlns:a16="http://schemas.microsoft.com/office/drawing/2014/main" id="{DCE6049C-9AB6-984E-03D8-F8A3AB398E61}"/>
              </a:ext>
            </a:extLst>
          </p:cNvPr>
          <p:cNvSpPr>
            <a:spLocks noChangeAspect="1"/>
          </p:cNvSpPr>
          <p:nvPr/>
        </p:nvSpPr>
        <p:spPr bwMode="auto">
          <a:xfrm>
            <a:off x="8296926" y="3359716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58" name="Straight Arrow Connector 157">
            <a:extLst>
              <a:ext uri="{FF2B5EF4-FFF2-40B4-BE49-F238E27FC236}">
                <a16:creationId xmlns:a16="http://schemas.microsoft.com/office/drawing/2014/main" id="{12D46DAA-A078-22FF-86F4-14840AA20F99}"/>
              </a:ext>
            </a:extLst>
          </p:cNvPr>
          <p:cNvCxnSpPr>
            <a:cxnSpLocks/>
            <a:stCxn id="157" idx="6"/>
          </p:cNvCxnSpPr>
          <p:nvPr/>
        </p:nvCxnSpPr>
        <p:spPr>
          <a:xfrm>
            <a:off x="8393011" y="3407759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9" name="Right Brace 158">
            <a:extLst>
              <a:ext uri="{FF2B5EF4-FFF2-40B4-BE49-F238E27FC236}">
                <a16:creationId xmlns:a16="http://schemas.microsoft.com/office/drawing/2014/main" id="{6E1E95FB-59AD-9BEB-D212-CE61CA8416FD}"/>
              </a:ext>
            </a:extLst>
          </p:cNvPr>
          <p:cNvSpPr/>
          <p:nvPr/>
        </p:nvSpPr>
        <p:spPr>
          <a:xfrm rot="16200000">
            <a:off x="6712428" y="2793671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1CCC67F5-89AF-74A4-EC28-B3273A8D07BD}"/>
              </a:ext>
            </a:extLst>
          </p:cNvPr>
          <p:cNvSpPr/>
          <p:nvPr/>
        </p:nvSpPr>
        <p:spPr bwMode="auto">
          <a:xfrm>
            <a:off x="4955871" y="3335967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Other subreddit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61" name="Right Brace 160">
            <a:extLst>
              <a:ext uri="{FF2B5EF4-FFF2-40B4-BE49-F238E27FC236}">
                <a16:creationId xmlns:a16="http://schemas.microsoft.com/office/drawing/2014/main" id="{8A1966D6-4E70-0DEB-F024-954DE9697EF4}"/>
              </a:ext>
            </a:extLst>
          </p:cNvPr>
          <p:cNvSpPr/>
          <p:nvPr/>
        </p:nvSpPr>
        <p:spPr>
          <a:xfrm rot="5400000">
            <a:off x="7775269" y="3356010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D189B25E-F6F5-E9AD-9BD8-F994B518AA74}"/>
              </a:ext>
            </a:extLst>
          </p:cNvPr>
          <p:cNvSpPr/>
          <p:nvPr/>
        </p:nvSpPr>
        <p:spPr bwMode="auto">
          <a:xfrm>
            <a:off x="6313872" y="292174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other subreddit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E448D933-DB54-7F1B-22AB-68888974D7B3}"/>
              </a:ext>
            </a:extLst>
          </p:cNvPr>
          <p:cNvSpPr/>
          <p:nvPr/>
        </p:nvSpPr>
        <p:spPr bwMode="auto">
          <a:xfrm>
            <a:off x="6766564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re-shock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26BFC303-DB4C-89A9-4B91-AFD736460EF8}"/>
              </a:ext>
            </a:extLst>
          </p:cNvPr>
          <p:cNvSpPr/>
          <p:nvPr/>
        </p:nvSpPr>
        <p:spPr bwMode="auto">
          <a:xfrm>
            <a:off x="7339112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ost-shock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BEE4D67C-DE1C-C382-511A-992C1778296A}"/>
              </a:ext>
            </a:extLst>
          </p:cNvPr>
          <p:cNvSpPr/>
          <p:nvPr/>
        </p:nvSpPr>
        <p:spPr bwMode="auto">
          <a:xfrm>
            <a:off x="4955871" y="3708050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55B2EE01-E2FE-1111-9B5C-5F0042AF6B4A}"/>
              </a:ext>
            </a:extLst>
          </p:cNvPr>
          <p:cNvSpPr/>
          <p:nvPr/>
        </p:nvSpPr>
        <p:spPr bwMode="auto">
          <a:xfrm>
            <a:off x="7376713" y="396275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7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</p:spTree>
    <p:extLst>
      <p:ext uri="{BB962C8B-B14F-4D97-AF65-F5344CB8AC3E}">
        <p14:creationId xmlns:p14="http://schemas.microsoft.com/office/powerpoint/2010/main" val="23457353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95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606" imgH="608" progId="TCLayout.ActiveDocument.1">
                  <p:embed/>
                </p:oleObj>
              </mc:Choice>
              <mc:Fallback>
                <p:oleObj name="think-cell Slide" r:id="rId50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Rectangle 118">
            <a:extLst>
              <a:ext uri="{FF2B5EF4-FFF2-40B4-BE49-F238E27FC236}">
                <a16:creationId xmlns:a16="http://schemas.microsoft.com/office/drawing/2014/main" id="{EF276256-AA4F-DBFC-BDCC-594F5A3F54A5}"/>
              </a:ext>
            </a:extLst>
          </p:cNvPr>
          <p:cNvSpPr/>
          <p:nvPr/>
        </p:nvSpPr>
        <p:spPr bwMode="auto">
          <a:xfrm>
            <a:off x="6731448" y="1299100"/>
            <a:ext cx="67021" cy="2957513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292A5B41-E3B1-F280-1811-53C9B83A518D}"/>
              </a:ext>
            </a:extLst>
          </p:cNvPr>
          <p:cNvSpPr/>
          <p:nvPr/>
        </p:nvSpPr>
        <p:spPr bwMode="auto">
          <a:xfrm>
            <a:off x="2375376" y="1299100"/>
            <a:ext cx="67021" cy="2957513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omparison of Groups A and B (pre- and post-shock r/WSB commenters) shows only a few noticeable differences…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2</a:t>
            </a:fld>
            <a:endParaRPr lang="en-US"/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405680F3-31A4-E10D-58E0-53F4E28A255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5721523"/>
              </p:ext>
            </p:extLst>
          </p:nvPr>
        </p:nvGraphicFramePr>
        <p:xfrm>
          <a:off x="663575" y="1184275"/>
          <a:ext cx="3770313" cy="3154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FB2A7EE-7BE4-5FDD-9FD9-87D3D42A5DE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08000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AFF2F5-ED4D-4D0E-8048-49567903FCF2}" type="datetime'''''Ju''l ''''''''''''''''2''''''0''''''''2''''''''''0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8F9F7E2-E707-7700-9808-61BCF21CD74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216025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F3EF31-D5F7-4614-8295-5B3010371792}" type="datetime'''O''''''c''''''''''''t'''''''' ''''2''''0''''''''''2''0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0</a:t>
            </a:fld>
            <a:endParaRPr lang="en-US" sz="100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FFDCC642-9EA0-97FD-F936-52151C38D88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38338" y="4298950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98411C-B9FF-4EEF-A7EC-BDE3D91F9595}" type="datetime'''Jan ''''''''''''''''''''''''''''''''''20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9DC13FE-840E-456A-FF20-D336289463B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652713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3BDE061-E77A-4C8F-B4B9-B6318E09DB9E}" type="datetime'''''A''''''''''p''''''''''''r'''' ''''2''''''0''''''''''''2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 2021</a:t>
            </a:fld>
            <a:endParaRPr lang="en-US" sz="100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6D2F823-1FAE-41AD-0B11-562EC81D740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387725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5E3683-D1CC-4923-82F7-65454642F4E1}" type="datetime'''''J''''''''''u''''''l'''' ''''''''''2''''0''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2C0039A-04AC-189A-3AFF-2FCF3741DDE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095750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5B5D5E-E16B-4175-AB56-DBCCA0B6B4DC}" type="datetime'O''''''c''t'''''' ''20''2''''''''1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1</a:t>
            </a:fld>
            <a:endParaRPr lang="en-US" sz="1000"/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5C6982B6-8A5C-D225-C412-E8B8DBE58BC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85775" y="41798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3C61C9D-791E-4DA0-BCED-248B2893EBAB}" type="datetime'0''''''''.''''''''''0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000"/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7BA65766-7206-50F9-8893-00F7CFB0A6E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85775" y="39306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BC0B3A2-3277-4F1B-8206-F3843D54112E}" type="datetime'''''''''''''''''''''''0.''''''''''2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00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A646237E-7348-29D2-0B41-DA612DFADB9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5775" y="3681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C5AC930-5C12-4F58-BA6F-D4E832BDE407}" type="datetime'''0.''4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100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BEC1ECA9-53E8-0DEA-1157-7B2233D44AD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5775" y="34321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A934BFD-558E-43B0-ADBF-2795BD507717}" type="datetime'''''0''''''''''''''.''''''''''''''''''''''''''''6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000"/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5651160A-ACC6-3468-AA94-F33A16F74C2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5775" y="31829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A60D392-BC80-4248-BD59-7629228D3BDC}" type="datetime'''''''0''''.''''''8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1000"/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D855FD28-2F12-31BD-6DD1-06251289EDF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5775" y="29337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1AEF242-A7AA-47C5-8AD3-70FDEA26409A}" type="datetime'''''''1''''''''''''''''''''''''''''.''''''''0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/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2F6B02AE-7AA4-5BB0-FAAB-26B51D9E0FF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5775" y="26860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EFB0061-8A3E-492B-8444-567756D64E58}" type="datetime'1''''''''''''''''''''.''''2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100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18E561AF-4567-0DFD-4496-3786E09E426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5775" y="24368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2B5D168-3C0A-42D0-B620-3FC6987D5FBB}" type="datetime'''''1''''.''''''''''''''''4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1000"/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CCAC5785-97C7-BCD4-1923-A2D2D5CD6B5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5775" y="21875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5BB9C67-ED46-4544-928A-2ECD44957802}" type="datetime'''1''''''''''''''''''''''''''''''''''''''''''''.''''6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1000"/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4AA65F0D-788A-C0C6-4836-245782094ED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5775" y="19383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7C50965-9B57-4C41-9DA6-31CD3C570280}" type="datetime'''''''''''1''''''''''''''''''''''''.8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1000"/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F77F9611-BB64-65E1-3970-89DB5418806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5775" y="16891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8896105-BC4F-42C9-B8B7-59579DF1FA90}" type="datetime'''''''''''''''''''2.''''''''''''''''''''''0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US" sz="100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1DB31213-AC55-D8AE-82E7-AF8976E461B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85775" y="14398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7535AE8-531F-4C25-8B82-DFF15B50A690}" type="datetime'''''''''''''''2''''''.''''''''''''''''''''''''2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2</a:t>
            </a:fld>
            <a:endParaRPr lang="en-US" sz="1000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75E222BF-9A0E-5062-B2E0-BA41B84CECF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85775" y="11906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BF9264D-7F4E-4BC1-B412-03DC667B7C68}" type="datetime'''''''''''''''''''''''''2''''''''''.''4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4</a:t>
            </a:fld>
            <a:endParaRPr lang="en-US" sz="100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7CB36B38-2F63-1A58-A4FF-DB28D2055A1F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5108575" y="4713288"/>
            <a:ext cx="1063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86E0BA6-D590-FBAD-E9DE-2DA0CC156128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5108575" y="4870450"/>
            <a:ext cx="1063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517E25A-859F-0D49-4C4C-BDD737EC1C46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5108575" y="5027613"/>
            <a:ext cx="1063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320A115-ED6C-2CA7-4E24-65577E9CB15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275263" y="4664076"/>
            <a:ext cx="14065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AC8296F-BDF4-42BF-B835-8CB657B214A3}" type="datetime'Mean c''o''m''m''en''ts ''''on'''' r/''w''all''st''reet''bets'">
              <a:rPr lang="en-US" altLang="en-US" sz="7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70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AF5350A-E94D-9DEF-B4AA-E8F744FAE17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275263" y="4821239"/>
            <a:ext cx="1573213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E8E2022-0EBA-4668-87B6-188BDC57D4F9}" type="datetime'Mean c''''omm''en''ts on all ''oth''er Sub''''''''''redd''its'">
              <a:rPr lang="en-US" altLang="en-US" sz="7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70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B064B5F-0077-6259-39D3-94C095A1479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275263" y="4978401"/>
            <a:ext cx="85248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DB8E08C-2FC8-40B5-AD37-514AFF3C8A44}" type="datetime'Mea''''n'' ''t''''''''ot''''al c''om''m''e''n''''''''ts'''''''">
              <a:rPr lang="en-US" altLang="en-US" sz="7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700"/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4BAED52D-D376-C1E3-0F7C-800F727C7E79}"/>
              </a:ext>
            </a:extLst>
          </p:cNvPr>
          <p:cNvSpPr/>
          <p:nvPr/>
        </p:nvSpPr>
        <p:spPr bwMode="auto">
          <a:xfrm>
            <a:off x="746125" y="864797"/>
            <a:ext cx="3597275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accent5"/>
                </a:solidFill>
                <a:ea typeface="Tahoma"/>
                <a:cs typeface="Tahoma"/>
              </a:rPr>
              <a:t>Group A</a:t>
            </a: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: Pre-shock r/WSB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ubstitution during the shock with rapid decline post-shock</a:t>
            </a:r>
          </a:p>
        </p:txBody>
      </p:sp>
      <p:graphicFrame>
        <p:nvGraphicFramePr>
          <p:cNvPr id="83" name="Chart 82">
            <a:extLst>
              <a:ext uri="{FF2B5EF4-FFF2-40B4-BE49-F238E27FC236}">
                <a16:creationId xmlns:a16="http://schemas.microsoft.com/office/drawing/2014/main" id="{D1E7CC3F-9EE0-E674-09B0-7CC541694976}"/>
              </a:ext>
            </a:extLst>
          </p:cNvPr>
          <p:cNvGraphicFramePr/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48397992"/>
              </p:ext>
            </p:extLst>
          </p:nvPr>
        </p:nvGraphicFramePr>
        <p:xfrm>
          <a:off x="5010150" y="1184275"/>
          <a:ext cx="3770313" cy="3154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4375D48-4C95-493E-3288-1699F6BD7AE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854575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F3D9690-376B-4252-A41E-CE7845ACE81C}" type="datetime'''''''''''''''''''''''Ju''''l ''''''''2''''0''''2''''''0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C3DA9CA-EA1B-61E8-4140-62FAB5280F4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562600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118B2F-F435-4563-9D95-D0165B1336C0}" type="datetime'''''''''''''''O''c''''''''''''''''t'' 2''0''''''''''''''20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0</a:t>
            </a:fld>
            <a:endParaRPr lang="en-US" sz="100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4366A27-105E-C217-624B-EF70595D38D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284913" y="4298950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E94A10E-D011-4F1B-B327-CF47F493BA4F}" type="datetime'''''''''J''''''''''''an'''''''''''''' ''2''''0''''2''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54E1270E-8E13-F519-E44E-B35AEC7D04D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999288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9DB8C82-1726-4F00-89F9-2A1D922411AA}" type="datetime'''''''A''pr ''''''''''''''''''''''''''20''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 2021</a:t>
            </a:fld>
            <a:endParaRPr lang="en-US" sz="100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8DEF39D-E84E-AA47-C0E7-A764F736078E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734300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526565-FC83-4BB2-A872-A7A255C13480}" type="datetime'''''''''''''''Jul'' 2''''''''0''''''2''''''1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2A611228-D42D-059D-7B17-BD13612A8FD8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442325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DA462CB-E08A-4DFA-98D1-1750FAA1A4DD}" type="datetime'''''''''''''O''''''c''t ''2''0''''21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1</a:t>
            </a:fld>
            <a:endParaRPr lang="en-US" sz="100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B4932D42-8197-69A5-605A-06B6265F62AC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832350" y="41798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B2D72EC-5739-4571-9B15-64F41D085D31}" type="datetime'''''''''''''''''''''''0''''''''.''''''''''''''''''0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0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A333F9-F670-D590-2AD2-E65214DBD0A2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832350" y="39306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46B56D7-F138-4FAB-9BC4-4C82EA4F88E3}" type="datetime'''''''''''''''''''''''''''''0.''2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00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E53475D-95D2-A966-38CB-73528B1F36A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832350" y="3681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1F3E7F5-A35B-48A4-AB8D-1E291484C82C}" type="datetime'''''''''''''''0''''''''''''''''''.''''''4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100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9A64859-F974-52A3-E52F-589D1205F26C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832350" y="34321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B077668-F594-4826-B139-82889AF119B3}" type="datetime'''''''''''''''''''''''''''''''0''''.''''''''''6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00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8A9D4CB0-927C-4DB1-B812-3BFBB564B0F8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832350" y="31829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2FE2C12-B153-4FD8-8970-C9C6AB341ADB}" type="datetime'''''''''0''''''''''''''''''''''''''''''.8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10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42CDB6EC-F69B-0BC5-1348-29034AF69261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832350" y="29337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3A02CF5-11C6-45F7-9A31-EC2D907E1633}" type="datetime'''''''''''''1''''''''''''''''''''''.''''0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0CD0C930-CCA8-D7BA-7C73-2A243889E070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832350" y="26860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6608AE2-FE2E-48CE-B9D7-3D88EC5582BD}" type="datetime'''''''''''''''''''''1''''''''''.''''2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100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EB788916-075B-F06A-FFA3-87DEDC8014E2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832350" y="24368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C910D7C-D691-4F16-925A-5C0FA6DF4E00}" type="datetime'''''''''''''1''.''''''''4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100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411C9360-7F73-866A-23BD-382376211BC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832350" y="21875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667067E-3C0E-4AFC-9C2D-8C0FF21FC234}" type="datetime'''''''''''''''''1''''''''''''''''''''.''6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100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CD86B322-3D42-7480-43DF-5509E2AF74ED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832350" y="19383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89EB11B-5D8A-4749-AA69-6EB1D04A98FD}" type="datetime'1.''''8''''''''''''''''''''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100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43E04683-E0D7-9D42-FDAD-EB4FB995B83B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832350" y="16891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940F471-4D00-4CBC-8F6B-E8C0B5FC680E}" type="datetime'''''''''''''''2''''.''''''''''''''0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US" sz="100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4A59497C-098C-E91F-EAEC-30937227C1AF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832350" y="14398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C370381-2761-4531-BC5A-BAD13EE24536}" type="datetime'''''''''''''''''''''''''''''''''''''2''''''.''2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2</a:t>
            </a:fld>
            <a:endParaRPr lang="en-US" sz="100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A4B02762-1104-1E90-DB39-EA43B5451FFA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832350" y="11906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EBE0F83-F806-465D-88BF-CE9E41DA5AC2}" type="datetime'2''''''''''''''.4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4</a:t>
            </a:fld>
            <a:endParaRPr lang="en-US" sz="1000"/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C0EF10D2-2B9E-B0EE-4A6E-EA969FC61BE9}"/>
              </a:ext>
            </a:extLst>
          </p:cNvPr>
          <p:cNvSpPr/>
          <p:nvPr/>
        </p:nvSpPr>
        <p:spPr bwMode="auto">
          <a:xfrm>
            <a:off x="5096668" y="864797"/>
            <a:ext cx="3597275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accent5"/>
                </a:solidFill>
                <a:ea typeface="Tahoma"/>
                <a:cs typeface="Tahoma"/>
              </a:rPr>
              <a:t>Group B</a:t>
            </a: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: New r/WSB commenters post-shock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eemingly flat during the shock with flatter post-shock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C07EBA8-594C-AE8B-2770-838C9702C7AB}"/>
              </a:ext>
            </a:extLst>
          </p:cNvPr>
          <p:cNvSpPr/>
          <p:nvPr/>
        </p:nvSpPr>
        <p:spPr bwMode="auto">
          <a:xfrm rot="16200000">
            <a:off x="-766319" y="2609127"/>
            <a:ext cx="205453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2050636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3245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3" imgW="606" imgH="608" progId="TCLayout.ActiveDocument.1">
                  <p:embed/>
                </p:oleObj>
              </mc:Choice>
              <mc:Fallback>
                <p:oleObj name="think-cell Slide" r:id="rId73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1" name="Rectangle 420">
            <a:extLst>
              <a:ext uri="{FF2B5EF4-FFF2-40B4-BE49-F238E27FC236}">
                <a16:creationId xmlns:a16="http://schemas.microsoft.com/office/drawing/2014/main" id="{7B415461-9370-799C-EBEC-331EEAFF71F5}"/>
              </a:ext>
            </a:extLst>
          </p:cNvPr>
          <p:cNvSpPr/>
          <p:nvPr/>
        </p:nvSpPr>
        <p:spPr bwMode="auto">
          <a:xfrm>
            <a:off x="2478087" y="3172666"/>
            <a:ext cx="88900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B4A463EC-B1D9-1C8F-07A2-9832E6E6EA72}"/>
              </a:ext>
            </a:extLst>
          </p:cNvPr>
          <p:cNvSpPr/>
          <p:nvPr/>
        </p:nvSpPr>
        <p:spPr bwMode="auto">
          <a:xfrm>
            <a:off x="6821500" y="1238249"/>
            <a:ext cx="8832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17" name="Rectangle 416">
            <a:extLst>
              <a:ext uri="{FF2B5EF4-FFF2-40B4-BE49-F238E27FC236}">
                <a16:creationId xmlns:a16="http://schemas.microsoft.com/office/drawing/2014/main" id="{38CF88C3-20FE-0641-5F5D-251D4C19E89A}"/>
              </a:ext>
            </a:extLst>
          </p:cNvPr>
          <p:cNvSpPr/>
          <p:nvPr/>
        </p:nvSpPr>
        <p:spPr bwMode="auto">
          <a:xfrm>
            <a:off x="2482391" y="1238249"/>
            <a:ext cx="8029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…however, when splitting by engagement metrics, it’s clear there was a more pronounced effect on low engagement Group B commenter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3</a:t>
            </a:fld>
            <a:endParaRPr lang="en-US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629F5BC1-82E8-7D9F-6EB5-6BA1E2B8E68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0829902"/>
              </p:ext>
            </p:extLst>
          </p:nvPr>
        </p:nvGraphicFramePr>
        <p:xfrm>
          <a:off x="641350" y="1155700"/>
          <a:ext cx="3794125" cy="1433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426" name="Text Placeholder 2">
            <a:extLst>
              <a:ext uri="{FF2B5EF4-FFF2-40B4-BE49-F238E27FC236}">
                <a16:creationId xmlns:a16="http://schemas.microsoft.com/office/drawing/2014/main" id="{5604DFBE-E619-E247-F08B-41CC791C380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30225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678F66-C71C-422E-8AA2-1928BA55B50D}" type="datetime'''''''''''J''''''''u''''l ''''2''0''''''''''''20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4" name="Text Placeholder 2">
            <a:extLst>
              <a:ext uri="{FF2B5EF4-FFF2-40B4-BE49-F238E27FC236}">
                <a16:creationId xmlns:a16="http://schemas.microsoft.com/office/drawing/2014/main" id="{983E6E5C-9AA8-0C91-C72B-9AEE103B13E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31875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648309-274D-4066-A894-4951BE9685E1}" type="datetime'''''''''Se''p'''''''''''''''''''' 2''''0''''''''''''''''20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5" name="Text Placeholder 2">
            <a:extLst>
              <a:ext uri="{FF2B5EF4-FFF2-40B4-BE49-F238E27FC236}">
                <a16:creationId xmlns:a16="http://schemas.microsoft.com/office/drawing/2014/main" id="{E4B5D6A2-31E6-57FB-9A49-2E87648BC56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549400" y="254000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8814FF9-1338-45E1-A932-759074277CD0}" type="datetime'''''N''''''''ov'''' ''''''''2''''0''''''2''''''''''0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C18B0A06-29F3-2C0F-A4CE-6717F70230C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076451" y="254000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5AD8D6-7145-4FC6-B93A-7B2A1725ABB7}" type="datetime'''''''''''J''a''n'' ''2''0''21''''''''''''''''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6" name="Text Placeholder 2">
            <a:extLst>
              <a:ext uri="{FF2B5EF4-FFF2-40B4-BE49-F238E27FC236}">
                <a16:creationId xmlns:a16="http://schemas.microsoft.com/office/drawing/2014/main" id="{B180C832-2505-9482-D4BB-A79A8293FA6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573338" y="254000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9922FD-F5EB-4557-924B-7E4431E889EE}" type="datetime'M''''a''''''''''''''''''''''''r ''''''2''''0''2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7" name="Text Placeholder 2">
            <a:extLst>
              <a:ext uri="{FF2B5EF4-FFF2-40B4-BE49-F238E27FC236}">
                <a16:creationId xmlns:a16="http://schemas.microsoft.com/office/drawing/2014/main" id="{D1589F5E-88D8-8A78-0C91-320EF334B08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084513" y="254000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3F6DBA-895F-4599-A2C3-7C25BCAC7AA2}" type="datetime'''''''''''M''''ay'''''''''''''''''''' 2''''''0''''''''2''1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30" name="Text Placeholder 2">
            <a:extLst>
              <a:ext uri="{FF2B5EF4-FFF2-40B4-BE49-F238E27FC236}">
                <a16:creationId xmlns:a16="http://schemas.microsoft.com/office/drawing/2014/main" id="{783C4337-4F04-2E6D-4CB8-89E59A40D30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632200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57CFE30-9F9D-4A76-BDB9-CC31BC527998}" type="datetime'''''''''J''''u''''l'''''''' 2''0''''''''''''''''2''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8" name="Text Placeholder 2">
            <a:extLst>
              <a:ext uri="{FF2B5EF4-FFF2-40B4-BE49-F238E27FC236}">
                <a16:creationId xmlns:a16="http://schemas.microsoft.com/office/drawing/2014/main" id="{5457FBFC-16F0-8D4D-D92C-2F8F3C1CFED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133850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30DB511-DDF5-4092-974D-6AB23AB745B7}" type="datetime'''''''''S''e''''p'''''''''''' ''2''''''''0''2''''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1CD5682-5FE1-914D-4BC8-D8F6B12D837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14350" y="244633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0686C22-513A-48C5-87BA-9766F95BFC87}" type="datetime'''''''''''''''''''''''''0''''''.''''''''''''''''''''''0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845A5E2B-872A-0E2E-D1BD-DF151926094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14350" y="22352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F13EBB3-A522-448B-8131-E7F3F6495DC0}" type="datetime'''''0''''''''''''''''''.''''1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80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19459395-AA44-5A78-7E7A-C81C8858808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14350" y="20240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2F60370-6E49-47A6-A195-B5A53A01360F}" type="datetime'''''''''''''''''0''''''.''''2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3864B35D-B216-8576-15B2-3A22E4A6011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14350" y="1812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1181B06-1FCF-423D-9E78-14BCD97B422A}" type="datetime'''''''''''''''''''''0''.''3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80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3410029A-DDF0-FC83-44CF-12AEDA8DF23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14350" y="16002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302AAB-D9D6-4D3D-85E8-D261BB6E24AA}" type="datetime'''''''''''''''''0.4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310" name="Text Placeholder 2">
            <a:extLst>
              <a:ext uri="{FF2B5EF4-FFF2-40B4-BE49-F238E27FC236}">
                <a16:creationId xmlns:a16="http://schemas.microsoft.com/office/drawing/2014/main" id="{B0438354-8E0F-8B88-16A2-7A230916FC6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14350" y="13890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BFB2781-9174-4AF6-981F-79EEDC2AC768}" type="datetime'''0''''''''''.''''''''''''''''''''''''''''''5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800"/>
          </a:p>
        </p:txBody>
      </p:sp>
      <p:sp>
        <p:nvSpPr>
          <p:cNvPr id="311" name="Text Placeholder 2">
            <a:extLst>
              <a:ext uri="{FF2B5EF4-FFF2-40B4-BE49-F238E27FC236}">
                <a16:creationId xmlns:a16="http://schemas.microsoft.com/office/drawing/2014/main" id="{00160A23-DB4C-00D4-D0D2-6FB6BEE781D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14350" y="1177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9797FF3-E080-4DD8-A05A-87801ABE3810}" type="datetime'''''0.''''''''''''6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FE2138D-C7EB-9792-7C63-1877D685463D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5122863" y="4737100"/>
            <a:ext cx="1063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0762FA7-D011-1A22-486D-5F9150FA1C9C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5122863" y="4894263"/>
            <a:ext cx="1063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87B1BA2-DCD9-F205-26B8-A086AA5F9F3E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5122863" y="5051425"/>
            <a:ext cx="1063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DE4721E-799A-589C-1A6C-EE554155D39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289550" y="4687888"/>
            <a:ext cx="14065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492D2A7-073C-474A-8D2D-698CE3A25356}" type="datetime'Me''an'' comm''ent''s'' o''n ''r/wa''''''lls''t''reet''bet''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70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3355C5A-7D97-0DB9-3562-17A0256AEB0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289550" y="4845050"/>
            <a:ext cx="15589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31DE5A7-2F8F-48EE-92B9-04CDB8651F96}" type="datetime'Mean com''m''ent''s on a''''ll ot''''h''er s''u''b''reddi''t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70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0EFBC88-36B4-0CDD-A492-1628ACF06FB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289550" y="5002213"/>
            <a:ext cx="85248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169B7AA-DFE2-4FC7-A71A-D7E4C8A7DAE2}" type="datetime'Me''''''a''''n ''''tot''al'''' ''com''m''''e''''''nt''''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700"/>
          </a:p>
        </p:txBody>
      </p:sp>
      <p:graphicFrame>
        <p:nvGraphicFramePr>
          <p:cNvPr id="467" name="Chart 466">
            <a:extLst>
              <a:ext uri="{FF2B5EF4-FFF2-40B4-BE49-F238E27FC236}">
                <a16:creationId xmlns:a16="http://schemas.microsoft.com/office/drawing/2014/main" id="{0B0BA24A-D655-7EB6-5832-C2717B68904A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070481732"/>
              </p:ext>
            </p:extLst>
          </p:nvPr>
        </p:nvGraphicFramePr>
        <p:xfrm>
          <a:off x="650875" y="3090863"/>
          <a:ext cx="3784600" cy="143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273" name="Text Placeholder 2">
            <a:extLst>
              <a:ext uri="{FF2B5EF4-FFF2-40B4-BE49-F238E27FC236}">
                <a16:creationId xmlns:a16="http://schemas.microsoft.com/office/drawing/2014/main" id="{2B175772-B8D9-6B06-7A48-2C578453B3A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39750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CB752BC-32DF-485C-9532-1C7E3C38A3B7}" type="datetime'''''J''''''''''''''''''u''''''l ''''''''''20''''''2''''0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376294ED-6778-828A-2560-B353478D19E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39813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837FBD-B5ED-400B-8ECA-DE5362C16C0E}" type="datetime'''''''S''''''e''''''''p'''' ''''''20''''2''''''''''0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/>
          </a:p>
        </p:txBody>
      </p:sp>
      <p:sp>
        <p:nvSpPr>
          <p:cNvPr id="275" name="Text Placeholder 2">
            <a:extLst>
              <a:ext uri="{FF2B5EF4-FFF2-40B4-BE49-F238E27FC236}">
                <a16:creationId xmlns:a16="http://schemas.microsoft.com/office/drawing/2014/main" id="{FFDA9093-970D-A837-A451-36F06D35C1F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557338" y="447675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2C1EA81-C716-4BF1-A466-197D7735E0F2}" type="datetime'''N''''''''''ov'''''''' ''''''''''2''''02''0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0267CC05-976E-802A-1830-2ADEE9704938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081213" y="447675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716041-5023-4FC4-9D15-B687113FC962}" type="datetime'J''a''''''n'''''' ''''2''''''0''2''1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FA48C7F0-25CB-90FE-E2B3-9C1E71D8C88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578100" y="447675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27D174-6CD9-4F76-A709-C881EC4C8FB3}" type="datetime'M''a''''''''''''''''r'' ''''''''''2''''0''''2''1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AE8F4BC0-2EFC-67A7-EA4D-7E1C012DFD4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086100" y="447675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ACDE844-1A76-4400-945E-6B365BD7E6B5}" type="datetime'''''M''''''''''a''''''''''''''''''''y'''' ''''20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C08CFAD9-413C-4754-458C-926D5290598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633788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FE14A18-3D5F-43BE-9891-C9F309695B26}" type="datetime'''''''''''J''''''''ul'''''' ''''''''''''''''''''20''''''''2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69608EC6-7539-7E55-84E0-AF5ED2BE3FB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133850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D464AF-E17C-4CFD-9FAE-755A0E08D53C}" type="datetime'''Se''''''p'''''''''' ''''''''2''''''''0''''''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/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34A25998-5D64-9DAF-79EA-E2C1C9F3FF0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09600" y="438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2587E0C-B82C-40D4-9AA1-5EB7C788EFF7}" type="datetime'''''''''''''''''''''''''''''''''''0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800"/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1A7756BF-8580-9B46-F7DB-79BE6AF68DB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609600" y="4171950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813102C-B41D-46F7-B870-D136F61B4BFA}" type="datetime'''''''''''''''''''''''''''''''''''''1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80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F6C429F4-5E68-050D-05FB-0818F47EB68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09600" y="3959225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42F7AE5-1624-418C-97F2-25A5A9271631}" type="datetime'''''''''''''2''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800"/>
          </a:p>
        </p:txBody>
      </p:sp>
      <p:sp>
        <p:nvSpPr>
          <p:cNvPr id="284" name="Text Placeholder 2">
            <a:extLst>
              <a:ext uri="{FF2B5EF4-FFF2-40B4-BE49-F238E27FC236}">
                <a16:creationId xmlns:a16="http://schemas.microsoft.com/office/drawing/2014/main" id="{55B41BFF-235C-6470-D330-C7B90286DEC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09600" y="3748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15DBD26-D83B-4734-B02C-B1F74A05399C}" type="datetime'3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800"/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FFE01EAE-13BF-1707-F530-E87D18CA3318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09600" y="3536950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4086B75-7837-4F2F-A693-A46C37399743}" type="datetime'''''''''''''''''4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80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59330EB-FE68-E667-4630-E2002CE13AC3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09600" y="3324225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31B64CA-FD8D-47C0-830C-DE982B5F9F36}" type="datetime'''''''''''''''''''''''''''''''''''''5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80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214CA4D-62A4-EBD7-F99C-CAB863F52302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09600" y="311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663503C-318A-41DB-813A-28C5CA62974D}" type="datetime'''6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800"/>
          </a:p>
        </p:txBody>
      </p:sp>
      <p:sp>
        <p:nvSpPr>
          <p:cNvPr id="403" name="Rectangle 402">
            <a:extLst>
              <a:ext uri="{FF2B5EF4-FFF2-40B4-BE49-F238E27FC236}">
                <a16:creationId xmlns:a16="http://schemas.microsoft.com/office/drawing/2014/main" id="{6F1B779C-4AF3-26CC-F848-0456F00384B3}"/>
              </a:ext>
            </a:extLst>
          </p:cNvPr>
          <p:cNvSpPr/>
          <p:nvPr/>
        </p:nvSpPr>
        <p:spPr bwMode="auto">
          <a:xfrm>
            <a:off x="720104" y="846159"/>
            <a:ext cx="3623296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accent5"/>
                </a:solidFill>
                <a:ea typeface="Tahoma"/>
                <a:cs typeface="Tahoma"/>
              </a:rPr>
              <a:t>Group A, Quartile #1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: Pre-shock r/WSB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</a:rPr>
              <a:t>Relatively lower increase in post-shock engagement</a:t>
            </a:r>
          </a:p>
        </p:txBody>
      </p:sp>
      <p:sp>
        <p:nvSpPr>
          <p:cNvPr id="409" name="Rectangle 408">
            <a:extLst>
              <a:ext uri="{FF2B5EF4-FFF2-40B4-BE49-F238E27FC236}">
                <a16:creationId xmlns:a16="http://schemas.microsoft.com/office/drawing/2014/main" id="{05EF062A-6AC3-81D2-901C-FA180F5580F2}"/>
              </a:ext>
            </a:extLst>
          </p:cNvPr>
          <p:cNvSpPr/>
          <p:nvPr/>
        </p:nvSpPr>
        <p:spPr bwMode="auto">
          <a:xfrm>
            <a:off x="5078413" y="846159"/>
            <a:ext cx="3608387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accent5"/>
                </a:solidFill>
                <a:ea typeface="Tahoma"/>
                <a:cs typeface="Tahoma"/>
              </a:rPr>
              <a:t>Group B, Quartile #1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: Post-shock r/WSB commenters</a:t>
            </a:r>
            <a:endParaRPr lang="en-US" sz="1000" b="1">
              <a:solidFill>
                <a:schemeClr val="accent5"/>
              </a:solidFill>
              <a:ea typeface="Tahoma"/>
              <a:cs typeface="Tahoma"/>
            </a:endParaRP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</a:rPr>
              <a:t>Substantial increase in post-shock engagement</a:t>
            </a:r>
          </a:p>
        </p:txBody>
      </p:sp>
      <p:sp>
        <p:nvSpPr>
          <p:cNvPr id="413" name="Rectangle 412">
            <a:extLst>
              <a:ext uri="{FF2B5EF4-FFF2-40B4-BE49-F238E27FC236}">
                <a16:creationId xmlns:a16="http://schemas.microsoft.com/office/drawing/2014/main" id="{BAF09503-314F-338B-E59E-D39CF1395895}"/>
              </a:ext>
            </a:extLst>
          </p:cNvPr>
          <p:cNvSpPr/>
          <p:nvPr/>
        </p:nvSpPr>
        <p:spPr bwMode="auto">
          <a:xfrm>
            <a:off x="720104" y="2765425"/>
            <a:ext cx="3623296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accent5"/>
                </a:solidFill>
                <a:ea typeface="Tahoma"/>
                <a:cs typeface="Tahoma"/>
              </a:rPr>
              <a:t>Group A, Quartile #4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: Pre-shock r/WSB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</a:rPr>
              <a:t>Pronounced decreased in total comments</a:t>
            </a:r>
          </a:p>
        </p:txBody>
      </p:sp>
      <p:sp>
        <p:nvSpPr>
          <p:cNvPr id="487" name="Rectangle 486">
            <a:extLst>
              <a:ext uri="{FF2B5EF4-FFF2-40B4-BE49-F238E27FC236}">
                <a16:creationId xmlns:a16="http://schemas.microsoft.com/office/drawing/2014/main" id="{AD2BC57B-684E-15D7-D76D-401B98F03F30}"/>
              </a:ext>
            </a:extLst>
          </p:cNvPr>
          <p:cNvSpPr/>
          <p:nvPr/>
        </p:nvSpPr>
        <p:spPr bwMode="auto">
          <a:xfrm>
            <a:off x="5078413" y="2765425"/>
            <a:ext cx="3608387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accent5"/>
                </a:solidFill>
                <a:ea typeface="Tahoma"/>
                <a:cs typeface="Tahoma"/>
              </a:rPr>
              <a:t>Group B, Quartile #4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: Post-shock r/WSB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</a:rPr>
              <a:t>More muted decrease of most engaged users</a:t>
            </a:r>
          </a:p>
        </p:txBody>
      </p:sp>
      <p:sp>
        <p:nvSpPr>
          <p:cNvPr id="504" name="Rectangle 503">
            <a:extLst>
              <a:ext uri="{FF2B5EF4-FFF2-40B4-BE49-F238E27FC236}">
                <a16:creationId xmlns:a16="http://schemas.microsoft.com/office/drawing/2014/main" id="{13790265-C0FA-0FBF-6BDD-95DE53EA7F14}"/>
              </a:ext>
            </a:extLst>
          </p:cNvPr>
          <p:cNvSpPr/>
          <p:nvPr/>
        </p:nvSpPr>
        <p:spPr bwMode="auto">
          <a:xfrm>
            <a:off x="720104" y="1233221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050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141</a:t>
            </a:r>
          </a:p>
        </p:txBody>
      </p:sp>
      <p:sp>
        <p:nvSpPr>
          <p:cNvPr id="507" name="Rectangle 506">
            <a:extLst>
              <a:ext uri="{FF2B5EF4-FFF2-40B4-BE49-F238E27FC236}">
                <a16:creationId xmlns:a16="http://schemas.microsoft.com/office/drawing/2014/main" id="{C07FDB21-633B-C5B0-5D6A-F05454696B62}"/>
              </a:ext>
            </a:extLst>
          </p:cNvPr>
          <p:cNvSpPr/>
          <p:nvPr/>
        </p:nvSpPr>
        <p:spPr bwMode="auto">
          <a:xfrm>
            <a:off x="730250" y="3806468"/>
            <a:ext cx="1281113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4.515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4.215</a:t>
            </a:r>
          </a:p>
        </p:txBody>
      </p:sp>
      <p:graphicFrame>
        <p:nvGraphicFramePr>
          <p:cNvPr id="461" name="Chart 460">
            <a:extLst>
              <a:ext uri="{FF2B5EF4-FFF2-40B4-BE49-F238E27FC236}">
                <a16:creationId xmlns:a16="http://schemas.microsoft.com/office/drawing/2014/main" id="{B243DF30-136C-9574-5E63-208C44394E5C}"/>
              </a:ext>
            </a:extLst>
          </p:cNvPr>
          <p:cNvGraphicFramePr/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4007080626"/>
              </p:ext>
            </p:extLst>
          </p:nvPr>
        </p:nvGraphicFramePr>
        <p:xfrm>
          <a:off x="4975225" y="1155700"/>
          <a:ext cx="3794125" cy="1433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7"/>
          </a:graphicData>
        </a:graphic>
      </p:graphicFrame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6E7DF401-E641-E838-DC49-63FB6321C58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864100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A51F74-A6B6-4302-8ACB-342DE9AC63B4}" type="datetime'''''''''''''''J''''u''l'' ''2''''''''''''0''''''''20''''''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EE996B6-4B40-5C8E-2B15-5815D940733B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365750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D695578-E6C6-43B6-837D-310B9B9683FD}" type="datetime'''Se''p'''' 20''''''''''''''''''''''''''''2''''''''''0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F60979EC-692A-2585-67C9-694EECE47B65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883275" y="254000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8601BCE-AD2F-41F9-8F39-5EF8D89C1DD1}" type="datetime'''N''''''''''''''''''ov ''''''''20''''''''''2''0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05DAF86-D323-2FF0-EE28-BC5505BB5255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410325" y="254000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2C9433-B10F-4F08-8D49-4F7282352DD9}" type="datetime'''J''''''''a''n'''' ''2''''''''0''''21''''''''''''''''''''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DD680F5B-99CE-5955-06DA-7B5E33AE4EA8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907213" y="254000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0463FD-409B-4620-A22D-3E0B6C85560A}" type="datetime'''''''''''M''''''''''''''''a''''''''''r'' 2''02''''''''1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EED6165-4236-BBEC-0AE5-8C3D50FC7732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7418388" y="254000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DB2190B-D0EB-4ACC-8475-5C6684C27C1D}" type="datetime'''M''''''a''''y'' ''''2''''''0''''''''''2''''''''''''1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3CD80F6D-A122-AF59-6258-E63F7ADED50A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966075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A129D96-2FE8-4F2C-9B11-A249BA59985F}" type="datetime'J''''''u''''l'''' ''''2''''0''''''2''''''''''''''''''''1''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7E2F849-2EEE-7C68-E0E3-4F0E71BFBF5B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8467725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E4FFA47-1171-47D8-94EF-A00A62B6A7DE}" type="datetime'''''S''''''e''''''p'' ''''2''''0''''''''2''''''''1''''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FDDCFE89-C4E4-96C2-C818-AB6F1A9D1AB4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848225" y="244633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F359F5A-31B7-4C13-830D-97DEB27E2D03}" type="datetime'''''''''''0''''.''''''0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1BED5A1-0386-ACA0-A732-CA59FC36C3F8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848225" y="22352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A6F373B-B27E-4621-A5C8-CAC0E8211D6C}" type="datetime'''''''''0''''''''''.''''''''''''''''''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80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A98199F-5292-D538-49E0-A33DD7F11E01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848225" y="20240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29E6CBF-990B-484A-9ECA-029F1E66D1B0}" type="datetime'0''''''''''''.''''''''''''''''''''''''''''''''''''''2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EA6CE96E-E4C4-50D8-D044-A1EC5E553131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4848225" y="1812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A13C4D9-ABFA-48DE-8E58-BDBF7A2E1CE0}" type="datetime'''''''''''''''''''0''.''3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80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F63F1B40-C05D-3BC8-51D1-17E9DAF28AFA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4848225" y="16002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DC59FED-B947-4431-936A-4B5893868EB7}" type="datetime'''0.''''''''4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914F8158-E841-8221-3891-EF1C5048806A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4848225" y="13890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866AF52-7EC9-49BD-88D1-1387CEA977C0}" type="datetime'''0''''''''''''''''''''.5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80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428B2F6C-B7EE-9D54-1B99-42A609DE7399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4848225" y="1177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4617CDC-EADA-43D4-AFF5-604D156DADC9}" type="datetime'0''''''''''''''''''''''''''''''''.''''''''''6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505" name="Rectangle 504">
            <a:extLst>
              <a:ext uri="{FF2B5EF4-FFF2-40B4-BE49-F238E27FC236}">
                <a16:creationId xmlns:a16="http://schemas.microsoft.com/office/drawing/2014/main" id="{9D266AA8-0415-B1AE-B09E-7BCBDEB45F3B}"/>
              </a:ext>
            </a:extLst>
          </p:cNvPr>
          <p:cNvSpPr/>
          <p:nvPr/>
        </p:nvSpPr>
        <p:spPr bwMode="auto">
          <a:xfrm>
            <a:off x="5078413" y="1233221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100"/>
              </a:spcBef>
            </a:pPr>
            <a:r>
              <a:rPr lang="en-US" sz="800" u="sng" kern="1200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018</a:t>
            </a:r>
          </a:p>
          <a:p>
            <a:pPr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257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464" name="Speech Bubble: Rectangle with Corners Rounded 463">
            <a:extLst>
              <a:ext uri="{FF2B5EF4-FFF2-40B4-BE49-F238E27FC236}">
                <a16:creationId xmlns:a16="http://schemas.microsoft.com/office/drawing/2014/main" id="{4114600E-C671-12A7-821B-733575AF1C5C}"/>
              </a:ext>
            </a:extLst>
          </p:cNvPr>
          <p:cNvSpPr/>
          <p:nvPr/>
        </p:nvSpPr>
        <p:spPr bwMode="auto">
          <a:xfrm>
            <a:off x="7786513" y="1238249"/>
            <a:ext cx="1133823" cy="428625"/>
          </a:xfrm>
          <a:prstGeom prst="wedgeRoundRectCallout">
            <a:avLst>
              <a:gd name="adj1" fmla="val -36217"/>
              <a:gd name="adj2" fmla="val 80144"/>
              <a:gd name="adj3" fmla="val 16667"/>
            </a:avLst>
          </a:prstGeom>
          <a:noFill/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Level of post-shock engagement is higher for new users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468" name="Rectangle 467">
            <a:extLst>
              <a:ext uri="{FF2B5EF4-FFF2-40B4-BE49-F238E27FC236}">
                <a16:creationId xmlns:a16="http://schemas.microsoft.com/office/drawing/2014/main" id="{8ABDE82E-187D-90FE-3A13-05AE7C8FB035}"/>
              </a:ext>
            </a:extLst>
          </p:cNvPr>
          <p:cNvSpPr/>
          <p:nvPr/>
        </p:nvSpPr>
        <p:spPr bwMode="auto">
          <a:xfrm>
            <a:off x="6823075" y="3172666"/>
            <a:ext cx="8832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graphicFrame>
        <p:nvGraphicFramePr>
          <p:cNvPr id="493" name="Chart 492">
            <a:extLst>
              <a:ext uri="{FF2B5EF4-FFF2-40B4-BE49-F238E27FC236}">
                <a16:creationId xmlns:a16="http://schemas.microsoft.com/office/drawing/2014/main" id="{5DA51EBA-2509-572D-3E8E-474DBDC5ED66}"/>
              </a:ext>
            </a:extLst>
          </p:cNvPr>
          <p:cNvGraphicFramePr/>
          <p:nvPr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2906633709"/>
              </p:ext>
            </p:extLst>
          </p:nvPr>
        </p:nvGraphicFramePr>
        <p:xfrm>
          <a:off x="4995863" y="3090863"/>
          <a:ext cx="3784600" cy="143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8"/>
          </a:graphicData>
        </a:graphic>
      </p:graphicFrame>
      <p:sp>
        <p:nvSpPr>
          <p:cNvPr id="470" name="Text Placeholder 2">
            <a:extLst>
              <a:ext uri="{FF2B5EF4-FFF2-40B4-BE49-F238E27FC236}">
                <a16:creationId xmlns:a16="http://schemas.microsoft.com/office/drawing/2014/main" id="{D6E1225C-A6D3-2A4E-F49E-C38437226797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4884738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925E08-1FA5-4D93-B2C1-A09673327876}" type="datetime'''''''''''''''''''''J''u''''''''''''''''l'''' ''''2020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471" name="Text Placeholder 2">
            <a:extLst>
              <a:ext uri="{FF2B5EF4-FFF2-40B4-BE49-F238E27FC236}">
                <a16:creationId xmlns:a16="http://schemas.microsoft.com/office/drawing/2014/main" id="{D114BFA6-4865-44C2-0811-A3E7C106C534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5384800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BEC134-6FB5-4DA2-9994-B4F1D3062628}" type="datetime'''Se''''p'''' ''2''0''''''''20''''''''''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/>
          </a:p>
        </p:txBody>
      </p:sp>
      <p:sp>
        <p:nvSpPr>
          <p:cNvPr id="472" name="Text Placeholder 2">
            <a:extLst>
              <a:ext uri="{FF2B5EF4-FFF2-40B4-BE49-F238E27FC236}">
                <a16:creationId xmlns:a16="http://schemas.microsoft.com/office/drawing/2014/main" id="{4FF0AA0F-013C-FA18-371F-4EC271A78DE6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5902325" y="447675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9C0A10-EFC6-461A-8BD5-C0A603FC5D86}" type="datetime'Nov'' ''''''''2''0''''''2''0''''''''''''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473" name="Text Placeholder 2">
            <a:extLst>
              <a:ext uri="{FF2B5EF4-FFF2-40B4-BE49-F238E27FC236}">
                <a16:creationId xmlns:a16="http://schemas.microsoft.com/office/drawing/2014/main" id="{A8FDFD55-5CFF-668D-0BB1-486CFCACA1B6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6426200" y="447675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706635-7039-46EA-8FE5-B980F52F2157}" type="datetime'Ja''''''''''''n'''''''' ''''2''''''''02''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474" name="Text Placeholder 2">
            <a:extLst>
              <a:ext uri="{FF2B5EF4-FFF2-40B4-BE49-F238E27FC236}">
                <a16:creationId xmlns:a16="http://schemas.microsoft.com/office/drawing/2014/main" id="{FDCC3B16-EE60-38E7-8047-B23B424D4439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6923088" y="447675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F2DEC9-DE76-4312-8985-0BE9037C02F3}" type="datetime'M''''''ar'''''''''' ''''''''''2''021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475" name="Text Placeholder 2">
            <a:extLst>
              <a:ext uri="{FF2B5EF4-FFF2-40B4-BE49-F238E27FC236}">
                <a16:creationId xmlns:a16="http://schemas.microsoft.com/office/drawing/2014/main" id="{B61A9A26-ADE5-226D-9D0C-4C9F24D870AE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7431088" y="447675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F63DCDA-EC6E-46BB-88ED-2043CEDDFD5E}" type="datetime'''''''M''''''''''a''''y ''''2''''''''0''2''''''''''''''''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476" name="Text Placeholder 2">
            <a:extLst>
              <a:ext uri="{FF2B5EF4-FFF2-40B4-BE49-F238E27FC236}">
                <a16:creationId xmlns:a16="http://schemas.microsoft.com/office/drawing/2014/main" id="{3C36BAAE-7A9A-225C-8634-56470F4162AE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7978775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D3E2ED-01C9-49E8-A541-1A173C77EA87}" type="datetime'''''Ju''l'''' 2''''''''0''''''''''''''''''''''''''2''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477" name="Text Placeholder 2">
            <a:extLst>
              <a:ext uri="{FF2B5EF4-FFF2-40B4-BE49-F238E27FC236}">
                <a16:creationId xmlns:a16="http://schemas.microsoft.com/office/drawing/2014/main" id="{AF3ED3B2-427C-4AE6-5323-746F086EB1D4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8478838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F0690E2-2833-4921-90B9-58F838268670}" type="datetime'S''''''e''p'''''''''' ''''''''''''''''2''0''''2''1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/>
          </a:p>
        </p:txBody>
      </p:sp>
      <p:sp>
        <p:nvSpPr>
          <p:cNvPr id="478" name="Text Placeholder 2">
            <a:extLst>
              <a:ext uri="{FF2B5EF4-FFF2-40B4-BE49-F238E27FC236}">
                <a16:creationId xmlns:a16="http://schemas.microsoft.com/office/drawing/2014/main" id="{E013D436-CBAF-3D15-2B02-CDB59CE9905F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4954588" y="438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279EFE0-F9E9-40C2-A50D-B4184F22A9F6}" type="datetime'''''''''''''''''''''''''''''''''''''''''''''0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800"/>
          </a:p>
        </p:txBody>
      </p: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DEE377C4-7EA9-28BC-0FF4-584A66A16370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4954588" y="4171950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614100D-C11C-4632-A31B-3CCF68B67E6B}" type="datetime'''''''''1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800"/>
          </a:p>
        </p:txBody>
      </p:sp>
      <p:sp>
        <p:nvSpPr>
          <p:cNvPr id="480" name="Text Placeholder 2">
            <a:extLst>
              <a:ext uri="{FF2B5EF4-FFF2-40B4-BE49-F238E27FC236}">
                <a16:creationId xmlns:a16="http://schemas.microsoft.com/office/drawing/2014/main" id="{0EF755D3-59F8-2CB7-F811-128D53CE08A3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4954588" y="3959225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58A7669-2FFF-422C-9EFB-69E47FB9CC35}" type="datetime'''''''''''''2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800"/>
          </a:p>
        </p:txBody>
      </p:sp>
      <p:sp>
        <p:nvSpPr>
          <p:cNvPr id="481" name="Text Placeholder 2">
            <a:extLst>
              <a:ext uri="{FF2B5EF4-FFF2-40B4-BE49-F238E27FC236}">
                <a16:creationId xmlns:a16="http://schemas.microsoft.com/office/drawing/2014/main" id="{00580BBF-6E7D-0B85-E24F-1BD0D334CA49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4954588" y="3748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806FC43-96F9-45DD-8A65-FBA19B55B2FE}" type="datetime'''''''''''''''''3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800"/>
          </a:p>
        </p:txBody>
      </p:sp>
      <p:sp>
        <p:nvSpPr>
          <p:cNvPr id="483" name="Text Placeholder 2">
            <a:extLst>
              <a:ext uri="{FF2B5EF4-FFF2-40B4-BE49-F238E27FC236}">
                <a16:creationId xmlns:a16="http://schemas.microsoft.com/office/drawing/2014/main" id="{F1391DAB-7AC3-68E2-6873-B25DE8064E3E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4954588" y="3536950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798E756-57B9-44D2-BC53-40E30AEBB67E}" type="datetime'''''''4''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800"/>
          </a:p>
        </p:txBody>
      </p:sp>
      <p:sp>
        <p:nvSpPr>
          <p:cNvPr id="491" name="Text Placeholder 2">
            <a:extLst>
              <a:ext uri="{FF2B5EF4-FFF2-40B4-BE49-F238E27FC236}">
                <a16:creationId xmlns:a16="http://schemas.microsoft.com/office/drawing/2014/main" id="{8518C956-EDCF-2BAB-47F6-D1F058FD3FCE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4954588" y="3324225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9DFD493-9A72-4E28-9EC4-FA680E6E2016}" type="datetime'''''''''''''5''''''''''''''''''''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800"/>
          </a:p>
        </p:txBody>
      </p:sp>
      <p:sp>
        <p:nvSpPr>
          <p:cNvPr id="492" name="Text Placeholder 2">
            <a:extLst>
              <a:ext uri="{FF2B5EF4-FFF2-40B4-BE49-F238E27FC236}">
                <a16:creationId xmlns:a16="http://schemas.microsoft.com/office/drawing/2014/main" id="{E8AE27C8-A037-C9F2-C99D-8AD410288CF2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4954588" y="311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A6188BC-8DAC-4438-A87D-3BE4126C06EF}" type="datetime'''''''''''''''''''6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800"/>
          </a:p>
        </p:txBody>
      </p:sp>
      <p:sp>
        <p:nvSpPr>
          <p:cNvPr id="485" name="Rectangle 484">
            <a:extLst>
              <a:ext uri="{FF2B5EF4-FFF2-40B4-BE49-F238E27FC236}">
                <a16:creationId xmlns:a16="http://schemas.microsoft.com/office/drawing/2014/main" id="{1741B645-FCD5-F8A6-6544-F4262F2402FF}"/>
              </a:ext>
            </a:extLst>
          </p:cNvPr>
          <p:cNvSpPr/>
          <p:nvPr/>
        </p:nvSpPr>
        <p:spPr bwMode="auto">
          <a:xfrm>
            <a:off x="5078413" y="3983565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3.032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2.776</a:t>
            </a:r>
          </a:p>
        </p:txBody>
      </p:sp>
      <p:sp>
        <p:nvSpPr>
          <p:cNvPr id="494" name="Rectangle 493">
            <a:extLst>
              <a:ext uri="{FF2B5EF4-FFF2-40B4-BE49-F238E27FC236}">
                <a16:creationId xmlns:a16="http://schemas.microsoft.com/office/drawing/2014/main" id="{0B103757-36E7-5F91-48F9-54370A80C243}"/>
              </a:ext>
            </a:extLst>
          </p:cNvPr>
          <p:cNvSpPr/>
          <p:nvPr/>
        </p:nvSpPr>
        <p:spPr bwMode="auto">
          <a:xfrm rot="16200000">
            <a:off x="-256824" y="1737810"/>
            <a:ext cx="103554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7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495" name="Rectangle 494">
            <a:extLst>
              <a:ext uri="{FF2B5EF4-FFF2-40B4-BE49-F238E27FC236}">
                <a16:creationId xmlns:a16="http://schemas.microsoft.com/office/drawing/2014/main" id="{BFE0DDF3-CD7C-A6C9-82AE-D8070854056A}"/>
              </a:ext>
            </a:extLst>
          </p:cNvPr>
          <p:cNvSpPr/>
          <p:nvPr/>
        </p:nvSpPr>
        <p:spPr bwMode="auto">
          <a:xfrm rot="16200000">
            <a:off x="-256824" y="3701509"/>
            <a:ext cx="103554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7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7901106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7277757-6401-2D03-2212-27A9DFC462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3940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606" imgH="608" progId="TCLayout.ActiveDocument.1">
                  <p:embed/>
                </p:oleObj>
              </mc:Choice>
              <mc:Fallback>
                <p:oleObj name="think-cell Slide" r:id="rId20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277757-6401-2D03-2212-27A9DFC462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2" name="Rectangle 361">
            <a:extLst>
              <a:ext uri="{FF2B5EF4-FFF2-40B4-BE49-F238E27FC236}">
                <a16:creationId xmlns:a16="http://schemas.microsoft.com/office/drawing/2014/main" id="{31B27F9D-CA9E-A138-C1DB-E7FF91884D4C}"/>
              </a:ext>
            </a:extLst>
          </p:cNvPr>
          <p:cNvSpPr/>
          <p:nvPr/>
        </p:nvSpPr>
        <p:spPr bwMode="auto">
          <a:xfrm>
            <a:off x="4715803" y="1385095"/>
            <a:ext cx="153059" cy="2900752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950449-9943-0BD1-296B-186B915C0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dditionally, when new users joined during the shock period, </a:t>
            </a:r>
            <a:r>
              <a:rPr lang="en-US" i="1"/>
              <a:t>they continued to engage following the shock, at significant leve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9C9C8C-D9BB-9603-5AD3-C1A3769CBE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4</a:t>
            </a:fld>
            <a:endParaRPr lang="en-US"/>
          </a:p>
        </p:txBody>
      </p:sp>
      <p:graphicFrame>
        <p:nvGraphicFramePr>
          <p:cNvPr id="360" name="Chart 359">
            <a:extLst>
              <a:ext uri="{FF2B5EF4-FFF2-40B4-BE49-F238E27FC236}">
                <a16:creationId xmlns:a16="http://schemas.microsoft.com/office/drawing/2014/main" id="{30D6CE77-AF01-037D-A67E-1C0537245F7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8647151"/>
              </p:ext>
            </p:extLst>
          </p:nvPr>
        </p:nvGraphicFramePr>
        <p:xfrm>
          <a:off x="733425" y="1182688"/>
          <a:ext cx="8047038" cy="319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32" name="Text Placeholder 2">
            <a:extLst>
              <a:ext uri="{FF2B5EF4-FFF2-40B4-BE49-F238E27FC236}">
                <a16:creationId xmlns:a16="http://schemas.microsoft.com/office/drawing/2014/main" id="{A43034C4-420D-01C1-97ED-7ABEDED95CA7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77850" y="43370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09D701-6584-4DA1-8B92-114201E511F4}" type="datetime'''''''''''J''''u''''l'''''''' 2''''''0''''''''''''''20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233" name="Text Placeholder 2">
            <a:extLst>
              <a:ext uri="{FF2B5EF4-FFF2-40B4-BE49-F238E27FC236}">
                <a16:creationId xmlns:a16="http://schemas.microsoft.com/office/drawing/2014/main" id="{D703041E-F584-3E9A-7C31-FD7DDACFD08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92275" y="4337050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D52134-02A4-4F20-B587-9018723BE0EA}" type="datetime'''''''''S''''''''e''''p'''''''''''' ''''''''''''2020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234" name="Text Placeholder 2">
            <a:extLst>
              <a:ext uri="{FF2B5EF4-FFF2-40B4-BE49-F238E27FC236}">
                <a16:creationId xmlns:a16="http://schemas.microsoft.com/office/drawing/2014/main" id="{5F666C37-3504-A72E-E28F-55A0554F165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816225" y="4337050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161A841-720E-4813-9038-B230E9C170B0}" type="datetime'''''''''''N''''''''''o''v'''' ''''''''''20''''2''''0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6B6D8E4D-BE92-B51A-56DB-71C03E32239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52875" y="4337050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8945A9-E076-42EE-85B7-6C57C2EC3154}" type="datetime'''''J''''''''''''''''''''''an ''''''''''''''''2021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095CED80-AD1A-3A43-96F9-B51BFD17B42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035550" y="4337050"/>
            <a:ext cx="533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4A2DE0-C7AC-40DB-8AB4-23E90FFA53A7}" type="datetime'''''''''''M''''a''''r'''' ''202''''''''1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981DDB68-6348-6DCC-9645-113996BA819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151563" y="4337050"/>
            <a:ext cx="554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A44E087-7190-464F-8C88-65F7ADE3CAA7}" type="datetime'''''M''a''''''''y 2''''''0''''''''2''''''''1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5848110B-47B0-06B2-BE55-CDCA5060308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15200" y="43370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613D16-1994-40C8-9EAE-C050BA88CF45}" type="datetime'''''J''''''u''''''l'''' ''20''2''''''''1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719F0B67-500D-3707-510C-562205F7D7F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429625" y="4337050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23A282-89D1-44D4-91B7-718959B31807}" type="datetime'''''''S''''''''''''''''e''''''p 202''''''''''''''1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94DCFCD6-F0CC-216F-A2DE-36E3B3497B9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47688" y="4217988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CE73977-EEDF-4477-8B1E-2A1153F597C5}" type="datetime'''''0''''''''''''''''%''''''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/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1A4313F9-8EE9-4418-32C8-EF42AA35872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47688" y="2703513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C381E67-9783-476E-92CC-D09B2840EA2B}" type="datetime'''''''6''''%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en-US" sz="1000"/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09A4E8FD-4C86-18D2-9AAA-C1771AF05D4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77838" y="1189038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252293A-CBA0-4B70-80B5-5C4E257C3C7E}" type="datetime'''''1''''2''''''''%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US" sz="1000"/>
          </a:p>
        </p:txBody>
      </p:sp>
      <p:sp>
        <p:nvSpPr>
          <p:cNvPr id="326" name="Text Placeholder 2">
            <a:extLst>
              <a:ext uri="{FF2B5EF4-FFF2-40B4-BE49-F238E27FC236}">
                <a16:creationId xmlns:a16="http://schemas.microsoft.com/office/drawing/2014/main" id="{BF506DE3-3AE2-6BAF-418C-A873056D08B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47688" y="3713163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65E7144-6D62-43E8-9C9B-BBD65AAE6BAE}" type="datetime'''''2''''''''''''''''''''''''''''''''''''''''%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000"/>
          </a:p>
        </p:txBody>
      </p:sp>
      <p:sp>
        <p:nvSpPr>
          <p:cNvPr id="327" name="Text Placeholder 2">
            <a:extLst>
              <a:ext uri="{FF2B5EF4-FFF2-40B4-BE49-F238E27FC236}">
                <a16:creationId xmlns:a16="http://schemas.microsoft.com/office/drawing/2014/main" id="{112E25BA-E318-100A-DF00-FA5C1DED0B9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47688" y="3208338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B0D27AF-C0DA-47BA-AA94-A500F77A3E88}" type="datetime'''''''''''''''''''''''''''4''''''''%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000"/>
          </a:p>
        </p:txBody>
      </p:sp>
      <p:sp>
        <p:nvSpPr>
          <p:cNvPr id="328" name="Text Placeholder 2">
            <a:extLst>
              <a:ext uri="{FF2B5EF4-FFF2-40B4-BE49-F238E27FC236}">
                <a16:creationId xmlns:a16="http://schemas.microsoft.com/office/drawing/2014/main" id="{D0181EBD-A307-CCDF-03F0-7DB36D5BBFC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47688" y="2198688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7C532C6-E72B-4B41-8FCB-D2DBFC08FC8E}" type="datetime'''''8''''''''''''''''''''''''''''''''%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en-US" sz="1000"/>
          </a:p>
        </p:txBody>
      </p:sp>
      <p:sp>
        <p:nvSpPr>
          <p:cNvPr id="329" name="Text Placeholder 2">
            <a:extLst>
              <a:ext uri="{FF2B5EF4-FFF2-40B4-BE49-F238E27FC236}">
                <a16:creationId xmlns:a16="http://schemas.microsoft.com/office/drawing/2014/main" id="{498F1BC7-89D0-8FB2-4EB1-49486335243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77838" y="1693863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DE8109C-158E-4301-B541-1E5CC51B4D2D}" type="datetime'''''''''''''''''1''''''''''''''''''''''''''0''''''''''''''%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US" sz="1000"/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5A6FEE71-FFFB-CA4E-EB28-828F3798AA6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495800" y="1195388"/>
            <a:ext cx="466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4A6335-7B3D-4E92-8EED-31C9046652B1}" type="datetime'''1''''''1''.''3''''''''''''''''%'''''''''''''''''''''''''''">
              <a:rPr lang="en-US" altLang="en-US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3%</a:t>
            </a:fld>
            <a:endParaRPr lang="en-US" b="1"/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E556439F-0991-4162-112F-B70BB6EA2266}"/>
              </a:ext>
            </a:extLst>
          </p:cNvPr>
          <p:cNvSpPr/>
          <p:nvPr/>
        </p:nvSpPr>
        <p:spPr bwMode="auto">
          <a:xfrm>
            <a:off x="815974" y="864797"/>
            <a:ext cx="7881943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Proportion of Reddit comments made by users who joined during the shock period over time 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Users that joined during the shock stayed engaged in aggregate, making up &gt;1% of all Reddit comments 6 months after the shock</a:t>
            </a:r>
          </a:p>
        </p:txBody>
      </p:sp>
      <p:cxnSp>
        <p:nvCxnSpPr>
          <p:cNvPr id="357" name="Straight Connector 356">
            <a:extLst>
              <a:ext uri="{FF2B5EF4-FFF2-40B4-BE49-F238E27FC236}">
                <a16:creationId xmlns:a16="http://schemas.microsoft.com/office/drawing/2014/main" id="{01832F3F-8D98-E4C6-9D5A-E2601061B30B}"/>
              </a:ext>
            </a:extLst>
          </p:cNvPr>
          <p:cNvCxnSpPr>
            <a:cxnSpLocks/>
          </p:cNvCxnSpPr>
          <p:nvPr/>
        </p:nvCxnSpPr>
        <p:spPr>
          <a:xfrm>
            <a:off x="4962525" y="3837941"/>
            <a:ext cx="3724275" cy="0"/>
          </a:xfrm>
          <a:prstGeom prst="line">
            <a:avLst/>
          </a:prstGeom>
          <a:ln w="19050" cmpd="sng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3" name="Rectangle: Rounded Corners 362">
            <a:extLst>
              <a:ext uri="{FF2B5EF4-FFF2-40B4-BE49-F238E27FC236}">
                <a16:creationId xmlns:a16="http://schemas.microsoft.com/office/drawing/2014/main" id="{EF954839-1F68-FFB6-3B06-6B0E2C2BABED}"/>
              </a:ext>
            </a:extLst>
          </p:cNvPr>
          <p:cNvSpPr/>
          <p:nvPr/>
        </p:nvSpPr>
        <p:spPr bwMode="auto">
          <a:xfrm>
            <a:off x="7370189" y="3052208"/>
            <a:ext cx="1226123" cy="737155"/>
          </a:xfrm>
          <a:prstGeom prst="roundRect">
            <a:avLst/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400" b="1" kern="1200">
                <a:solidFill>
                  <a:schemeClr val="tx1"/>
                </a:solidFill>
                <a:ea typeface="Tahoma"/>
                <a:cs typeface="Tahoma"/>
              </a:rPr>
              <a:t>2%</a:t>
            </a:r>
          </a:p>
          <a:p>
            <a:pPr algn="ctr"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Mean proportion of comments on Reddit from this group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364" name="Rectangle 363">
            <a:extLst>
              <a:ext uri="{FF2B5EF4-FFF2-40B4-BE49-F238E27FC236}">
                <a16:creationId xmlns:a16="http://schemas.microsoft.com/office/drawing/2014/main" id="{61DCF08D-6013-C771-6B9A-A70B08D445D4}"/>
              </a:ext>
            </a:extLst>
          </p:cNvPr>
          <p:cNvSpPr/>
          <p:nvPr/>
        </p:nvSpPr>
        <p:spPr bwMode="auto">
          <a:xfrm>
            <a:off x="963636" y="1305559"/>
            <a:ext cx="2166425" cy="362492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300"/>
              </a:spcBef>
            </a:pPr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Sample of users included: </a:t>
            </a:r>
            <a:r>
              <a:rPr lang="en-US" sz="1000" b="1" i="1" kern="1200">
                <a:solidFill>
                  <a:schemeClr val="tx1"/>
                </a:solidFill>
                <a:ea typeface="Tahoma"/>
                <a:cs typeface="Tahoma"/>
              </a:rPr>
              <a:t>Any users that joined during the shock period</a:t>
            </a: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  <a:p>
            <a:pPr rtl="0">
              <a:spcBef>
                <a:spcPts val="300"/>
              </a:spcBef>
            </a:pP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9882803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8CAF35-5A43-67E0-C219-FAF4B1243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41681342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854260-2B2D-F500-3670-0FF52881FE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443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854260-2B2D-F500-3670-0FF52881F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68DC0FF3-95E5-BC0C-18DD-B25D23EB1520}"/>
              </a:ext>
            </a:extLst>
          </p:cNvPr>
          <p:cNvSpPr/>
          <p:nvPr/>
        </p:nvSpPr>
        <p:spPr bwMode="auto">
          <a:xfrm>
            <a:off x="2093671" y="1387475"/>
            <a:ext cx="1727200" cy="2124075"/>
          </a:xfrm>
          <a:prstGeom prst="roundRect">
            <a:avLst>
              <a:gd name="adj" fmla="val 7752"/>
            </a:avLst>
          </a:prstGeom>
          <a:solidFill>
            <a:schemeClr val="accent6">
              <a:lumMod val="20000"/>
              <a:lumOff val="80000"/>
            </a:schemeClr>
          </a:solidFill>
          <a:ln w="12700" cmpd="sng">
            <a:solidFill>
              <a:schemeClr val="tx1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EF18D3B-A7F4-1CC2-17DC-8ACC51FBF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610" y="0"/>
            <a:ext cx="8228801" cy="737800"/>
          </a:xfrm>
        </p:spPr>
        <p:txBody>
          <a:bodyPr vert="horz"/>
          <a:lstStyle/>
          <a:p>
            <a:r>
              <a:rPr lang="en-US"/>
              <a:t>Data used for the analysis effectively cover the entire post and comment history of Reddit, from Pushshift.io</a:t>
            </a:r>
          </a:p>
        </p:txBody>
      </p:sp>
      <p:pic>
        <p:nvPicPr>
          <p:cNvPr id="26" name="Graphic 25" descr="Database with solid fill">
            <a:extLst>
              <a:ext uri="{FF2B5EF4-FFF2-40B4-BE49-F238E27FC236}">
                <a16:creationId xmlns:a16="http://schemas.microsoft.com/office/drawing/2014/main" id="{5490BA01-4515-451D-BFA5-0156BB379E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6260" y="1415962"/>
            <a:ext cx="522838" cy="52283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66B12262-82A7-5B1B-44A2-09F22D94F62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695" t="33458" r="3136" b="31429"/>
          <a:stretch/>
        </p:blipFill>
        <p:spPr>
          <a:xfrm>
            <a:off x="469610" y="902737"/>
            <a:ext cx="922017" cy="34748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517FD8F0-3C7B-6573-148B-FDC1A1F8658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43400" y="1287640"/>
            <a:ext cx="3147060" cy="297643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377B49B2-E1E3-ACF1-89FD-C3AEDF7D8C9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94186" y="1969741"/>
            <a:ext cx="2177895" cy="256024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9" name="Slide Number Placeholder 4">
            <a:extLst>
              <a:ext uri="{FF2B5EF4-FFF2-40B4-BE49-F238E27FC236}">
                <a16:creationId xmlns:a16="http://schemas.microsoft.com/office/drawing/2014/main" id="{CE4EE070-99C0-5ECD-E568-28A4ABE81957}"/>
              </a:ext>
            </a:extLst>
          </p:cNvPr>
          <p:cNvSpPr txBox="1">
            <a:spLocks/>
          </p:cNvSpPr>
          <p:nvPr/>
        </p:nvSpPr>
        <p:spPr>
          <a:xfrm>
            <a:off x="4433288" y="4813918"/>
            <a:ext cx="277435" cy="129893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D41CA8C5-A4F6-8540-9A0C-2E1752B62ADF}" type="slidenum">
              <a:rPr lang="en-US" sz="800" smtClean="0"/>
              <a:pPr algn="ctr"/>
              <a:t>16</a:t>
            </a:fld>
            <a:endParaRPr lang="en-US" sz="80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1684290-4AB1-0E4A-1005-5160E44BAD28}"/>
              </a:ext>
            </a:extLst>
          </p:cNvPr>
          <p:cNvSpPr/>
          <p:nvPr/>
        </p:nvSpPr>
        <p:spPr bwMode="auto">
          <a:xfrm>
            <a:off x="1540710" y="902737"/>
            <a:ext cx="2123924" cy="34748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Pushshift.io archives all Reddit comment and post history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11BAA5B-BB7C-1245-EB65-62D35A15E712}"/>
              </a:ext>
            </a:extLst>
          </p:cNvPr>
          <p:cNvSpPr/>
          <p:nvPr/>
        </p:nvSpPr>
        <p:spPr bwMode="auto">
          <a:xfrm>
            <a:off x="891951" y="1503638"/>
            <a:ext cx="1135915" cy="34748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300"/>
              </a:spcBef>
            </a:pPr>
            <a:r>
              <a:rPr lang="en-US" sz="1000" b="1" i="1">
                <a:solidFill>
                  <a:schemeClr val="tx1"/>
                </a:solidFill>
                <a:ea typeface="Tahoma"/>
                <a:cs typeface="Tahoma"/>
              </a:rPr>
              <a:t>Submissions database</a:t>
            </a:r>
          </a:p>
        </p:txBody>
      </p:sp>
      <p:pic>
        <p:nvPicPr>
          <p:cNvPr id="57" name="Graphic 56" descr="Database with solid fill">
            <a:extLst>
              <a:ext uri="{FF2B5EF4-FFF2-40B4-BE49-F238E27FC236}">
                <a16:creationId xmlns:a16="http://schemas.microsoft.com/office/drawing/2014/main" id="{DF058276-D86B-0101-28A2-53A596F5F09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44635" y="1415962"/>
            <a:ext cx="522838" cy="522838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57E1FA44-70F9-984F-3E6C-2A5A3901107A}"/>
              </a:ext>
            </a:extLst>
          </p:cNvPr>
          <p:cNvSpPr/>
          <p:nvPr/>
        </p:nvSpPr>
        <p:spPr bwMode="auto">
          <a:xfrm>
            <a:off x="2790326" y="1503638"/>
            <a:ext cx="1135915" cy="34748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300"/>
              </a:spcBef>
            </a:pPr>
            <a:r>
              <a:rPr lang="en-US" sz="1000" b="1" i="1">
                <a:solidFill>
                  <a:schemeClr val="tx1"/>
                </a:solidFill>
                <a:ea typeface="Tahoma"/>
                <a:cs typeface="Tahoma"/>
              </a:rPr>
              <a:t>Comments database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6D046A9-B446-EDA5-9125-EB1C10BFA662}"/>
              </a:ext>
            </a:extLst>
          </p:cNvPr>
          <p:cNvSpPr/>
          <p:nvPr/>
        </p:nvSpPr>
        <p:spPr bwMode="auto">
          <a:xfrm>
            <a:off x="469610" y="1967090"/>
            <a:ext cx="1548539" cy="180481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rtl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All Reddit submissions</a:t>
            </a:r>
          </a:p>
          <a:p>
            <a:pPr marL="171450" indent="-171450" rtl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Includes core fields for analysis, such </a:t>
            </a: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as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Author usernam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Created tim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Subreddit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Titl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Post text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Number of comments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Score (net up</a:t>
            </a: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votes and downvotes)</a:t>
            </a:r>
            <a:endParaRPr lang="en-US" sz="8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7B8B48-C18E-BFD2-0338-BFD1091704A0}"/>
              </a:ext>
            </a:extLst>
          </p:cNvPr>
          <p:cNvSpPr/>
          <p:nvPr/>
        </p:nvSpPr>
        <p:spPr bwMode="auto">
          <a:xfrm>
            <a:off x="2244635" y="1967090"/>
            <a:ext cx="1548539" cy="180481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rtl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All Reddit comments</a:t>
            </a:r>
          </a:p>
          <a:p>
            <a:pPr marL="171450" indent="-171450" rtl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Includes core fields for analysis, such </a:t>
            </a: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as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Author usernam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Created tim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Subreddit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Comment text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Score (net upvotes and downvotes)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8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FEA6BEA0-E82F-4EF8-98FF-D7C77A75A9A7}"/>
              </a:ext>
            </a:extLst>
          </p:cNvPr>
          <p:cNvSpPr/>
          <p:nvPr/>
        </p:nvSpPr>
        <p:spPr bwMode="auto">
          <a:xfrm>
            <a:off x="703121" y="3947074"/>
            <a:ext cx="2935621" cy="582912"/>
          </a:xfrm>
          <a:prstGeom prst="roundRect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bg1"/>
                </a:solidFill>
                <a:ea typeface="Tahoma"/>
                <a:cs typeface="Tahoma"/>
              </a:rPr>
              <a:t>Thanks to Data Shared Services, we have easy access to the entire Reddit archive!</a:t>
            </a:r>
            <a:endParaRPr lang="en-US" sz="1000" b="1">
              <a:solidFill>
                <a:schemeClr val="bg1"/>
              </a:solidFill>
              <a:ea typeface="Tahoma"/>
              <a:cs typeface="Tahoma"/>
            </a:endParaRPr>
          </a:p>
        </p:txBody>
      </p:sp>
      <p:sp>
        <p:nvSpPr>
          <p:cNvPr id="64" name="Speech Bubble: Rectangle with Corners Rounded 63">
            <a:extLst>
              <a:ext uri="{FF2B5EF4-FFF2-40B4-BE49-F238E27FC236}">
                <a16:creationId xmlns:a16="http://schemas.microsoft.com/office/drawing/2014/main" id="{BB46C575-AC95-CB76-F5F7-0A73BBD15971}"/>
              </a:ext>
            </a:extLst>
          </p:cNvPr>
          <p:cNvSpPr/>
          <p:nvPr/>
        </p:nvSpPr>
        <p:spPr bwMode="auto">
          <a:xfrm>
            <a:off x="2677704" y="3424217"/>
            <a:ext cx="1294131" cy="463649"/>
          </a:xfrm>
          <a:prstGeom prst="wedgeRoundRectCallout">
            <a:avLst>
              <a:gd name="adj1" fmla="val -25940"/>
              <a:gd name="adj2" fmla="val -64420"/>
              <a:gd name="adj3" fmla="val 16667"/>
            </a:avLst>
          </a:prstGeom>
          <a:solidFill>
            <a:schemeClr val="bg1"/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Main dataset used for analysis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DCA9C32-0585-B177-A046-2FF62F8C722E}"/>
              </a:ext>
            </a:extLst>
          </p:cNvPr>
          <p:cNvSpPr/>
          <p:nvPr/>
        </p:nvSpPr>
        <p:spPr bwMode="auto">
          <a:xfrm>
            <a:off x="4343399" y="955651"/>
            <a:ext cx="3147059" cy="29457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In terms of credibility, </a:t>
            </a:r>
            <a:r>
              <a:rPr lang="en-US" sz="800" i="1" kern="1200" err="1">
                <a:solidFill>
                  <a:schemeClr val="tx1"/>
                </a:solidFill>
                <a:ea typeface="Tahoma"/>
                <a:cs typeface="Tahoma"/>
              </a:rPr>
              <a:t>Pushshift</a:t>
            </a: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 has been used for numerous academic publications across disciplines</a:t>
            </a:r>
          </a:p>
        </p:txBody>
      </p:sp>
      <p:sp>
        <p:nvSpPr>
          <p:cNvPr id="68" name="Footer Placeholder 3">
            <a:extLst>
              <a:ext uri="{FF2B5EF4-FFF2-40B4-BE49-F238E27FC236}">
                <a16:creationId xmlns:a16="http://schemas.microsoft.com/office/drawing/2014/main" id="{521A3A5B-9D62-DA9D-3BCA-9F651088FE6B}"/>
              </a:ext>
            </a:extLst>
          </p:cNvPr>
          <p:cNvSpPr txBox="1">
            <a:spLocks/>
          </p:cNvSpPr>
          <p:nvPr/>
        </p:nvSpPr>
        <p:spPr>
          <a:xfrm>
            <a:off x="469610" y="4684138"/>
            <a:ext cx="3340617" cy="40555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/>
              <a:t>See </a:t>
            </a:r>
            <a:r>
              <a:rPr lang="en-US" sz="800">
                <a:hlinkClick r:id="rId11"/>
              </a:rPr>
              <a:t>Pushshift.io</a:t>
            </a:r>
            <a:r>
              <a:rPr lang="en-US" sz="800"/>
              <a:t> and the </a:t>
            </a:r>
            <a:r>
              <a:rPr lang="en-US" sz="800" err="1">
                <a:hlinkClick r:id="rId12"/>
              </a:rPr>
              <a:t>Pushshift</a:t>
            </a:r>
            <a:r>
              <a:rPr lang="en-US" sz="800">
                <a:hlinkClick r:id="rId12"/>
              </a:rPr>
              <a:t> Reddit Dataset</a:t>
            </a:r>
            <a:r>
              <a:rPr lang="en-US" sz="800"/>
              <a:t> for details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906C17-7A9A-2821-889C-FF3D8F2406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B26464-4B37-40DF-8E5B-9D102111D519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1394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654A32D-3BB9-F7A2-3401-1F9B494D97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1999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606" imgH="608" progId="TCLayout.ActiveDocument.1">
                  <p:embed/>
                </p:oleObj>
              </mc:Choice>
              <mc:Fallback>
                <p:oleObj name="think-cell Slide" r:id="rId32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54A32D-3BB9-F7A2-3401-1F9B494D9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7" name="Rectangle 1046">
            <a:extLst>
              <a:ext uri="{FF2B5EF4-FFF2-40B4-BE49-F238E27FC236}">
                <a16:creationId xmlns:a16="http://schemas.microsoft.com/office/drawing/2014/main" id="{B9FDA0A6-03D3-9609-175B-2F1F6065C232}"/>
              </a:ext>
            </a:extLst>
          </p:cNvPr>
          <p:cNvSpPr/>
          <p:nvPr/>
        </p:nvSpPr>
        <p:spPr bwMode="auto">
          <a:xfrm>
            <a:off x="6883400" y="1302714"/>
            <a:ext cx="1543050" cy="2685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046" name="Rectangle 1045">
            <a:extLst>
              <a:ext uri="{FF2B5EF4-FFF2-40B4-BE49-F238E27FC236}">
                <a16:creationId xmlns:a16="http://schemas.microsoft.com/office/drawing/2014/main" id="{CE46E177-B402-4336-BC43-F60AD4C960A9}"/>
              </a:ext>
            </a:extLst>
          </p:cNvPr>
          <p:cNvSpPr/>
          <p:nvPr/>
        </p:nvSpPr>
        <p:spPr bwMode="auto">
          <a:xfrm>
            <a:off x="5292725" y="1302714"/>
            <a:ext cx="1544638" cy="2685167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042" name="Rectangle 1041">
            <a:extLst>
              <a:ext uri="{FF2B5EF4-FFF2-40B4-BE49-F238E27FC236}">
                <a16:creationId xmlns:a16="http://schemas.microsoft.com/office/drawing/2014/main" id="{F744F1D0-FC91-A024-6B39-806549CE75B7}"/>
              </a:ext>
            </a:extLst>
          </p:cNvPr>
          <p:cNvSpPr/>
          <p:nvPr/>
        </p:nvSpPr>
        <p:spPr bwMode="auto">
          <a:xfrm>
            <a:off x="6831013" y="1302714"/>
            <a:ext cx="55563" cy="268516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B7A6B82-26BC-FC92-D581-DD3DC89FF3F2}"/>
              </a:ext>
            </a:extLst>
          </p:cNvPr>
          <p:cNvSpPr/>
          <p:nvPr/>
        </p:nvSpPr>
        <p:spPr bwMode="auto">
          <a:xfrm>
            <a:off x="2612230" y="1302714"/>
            <a:ext cx="1478756" cy="2685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C3BD551-FD08-A57E-9716-812F23271801}"/>
              </a:ext>
            </a:extLst>
          </p:cNvPr>
          <p:cNvSpPr/>
          <p:nvPr/>
        </p:nvSpPr>
        <p:spPr bwMode="auto">
          <a:xfrm>
            <a:off x="1063625" y="1302714"/>
            <a:ext cx="1502568" cy="2685167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8BFDA38-D7C1-0990-47FE-CB0A0015CBC5}"/>
              </a:ext>
            </a:extLst>
          </p:cNvPr>
          <p:cNvSpPr/>
          <p:nvPr/>
        </p:nvSpPr>
        <p:spPr bwMode="auto">
          <a:xfrm>
            <a:off x="2539205" y="1302714"/>
            <a:ext cx="76202" cy="268516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2F6B00-DD4B-5C04-5DBD-D994D75DE7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610" y="0"/>
            <a:ext cx="8228801" cy="737800"/>
          </a:xfrm>
        </p:spPr>
        <p:txBody>
          <a:bodyPr vert="horz"/>
          <a:lstStyle/>
          <a:p>
            <a:r>
              <a:rPr lang="en-US"/>
              <a:t>To examine changes to user behavior over time, we examine three core periods, pre-shock, shock, and post-shock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2838DBDF-DC82-D15B-7D4B-C0CAF6CA136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470547"/>
              </p:ext>
            </p:extLst>
          </p:nvPr>
        </p:nvGraphicFramePr>
        <p:xfrm>
          <a:off x="5002213" y="1258888"/>
          <a:ext cx="3778250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851" name="Text Placeholder 2">
            <a:extLst>
              <a:ext uri="{FF2B5EF4-FFF2-40B4-BE49-F238E27FC236}">
                <a16:creationId xmlns:a16="http://schemas.microsoft.com/office/drawing/2014/main" id="{730A92A5-5D9A-F176-74C2-F33E14C5975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008563" y="4035425"/>
            <a:ext cx="152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9DEB185-D104-4F6D-9FDA-9D07FCAD5980}" type="datetime'J''''''u''''''''''''''''l'''''' ''''20''''''''''''''''2''0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853" name="Text Placeholder 2">
            <a:extLst>
              <a:ext uri="{FF2B5EF4-FFF2-40B4-BE49-F238E27FC236}">
                <a16:creationId xmlns:a16="http://schemas.microsoft.com/office/drawing/2014/main" id="{3B5E95FF-6506-DB3C-8334-2E25429ECAF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532438" y="4035425"/>
            <a:ext cx="152400" cy="538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FDF3C3D-59D6-497F-9233-DC34D3C83B33}" type="datetime'''''S''''''''''''''''''''''''e''''''''p 2''0''''''20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775" name="Text Placeholder 2">
            <a:extLst>
              <a:ext uri="{FF2B5EF4-FFF2-40B4-BE49-F238E27FC236}">
                <a16:creationId xmlns:a16="http://schemas.microsoft.com/office/drawing/2014/main" id="{3FA179B7-75F4-50C3-B630-182B232304B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049963" y="4035425"/>
            <a:ext cx="152400" cy="53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6EF5F6C-C01F-4F9A-96D7-BD5F1B9FD5C2}" type="datetime'''No''''''''''v'''''' ''''''''2''''''0''''2''''''0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856" name="Text Placeholder 2">
            <a:extLst>
              <a:ext uri="{FF2B5EF4-FFF2-40B4-BE49-F238E27FC236}">
                <a16:creationId xmlns:a16="http://schemas.microsoft.com/office/drawing/2014/main" id="{E18DDF94-9385-0CB3-BFD9-5258FAD0F88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565900" y="4035425"/>
            <a:ext cx="152400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FD901D4-318A-4453-8D93-2E3878BB4DD2}" type="datetime'''''J''a''''''n'''''' 2''''''''''''''''''02''1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858" name="Text Placeholder 2">
            <a:extLst>
              <a:ext uri="{FF2B5EF4-FFF2-40B4-BE49-F238E27FC236}">
                <a16:creationId xmlns:a16="http://schemas.microsoft.com/office/drawing/2014/main" id="{A9DAFD58-F2D3-36EF-CB38-D0975395139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064375" y="4035425"/>
            <a:ext cx="152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76A2822-C431-4E7A-8343-090F38B87076}" type="datetime'''''''''''M''''''ar'''''''''''' 2''''''''0''2''''1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860" name="Text Placeholder 2">
            <a:extLst>
              <a:ext uri="{FF2B5EF4-FFF2-40B4-BE49-F238E27FC236}">
                <a16:creationId xmlns:a16="http://schemas.microsoft.com/office/drawing/2014/main" id="{02ECAB8D-6703-E50C-5743-A89FEB58FDB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580313" y="4035425"/>
            <a:ext cx="152400" cy="554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4BC6702-C2B5-4948-A0D9-B3E82E80E93C}" type="datetime'''''M''''''''''''''''a''''y ''''''''''2''''021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862" name="Text Placeholder 2">
            <a:extLst>
              <a:ext uri="{FF2B5EF4-FFF2-40B4-BE49-F238E27FC236}">
                <a16:creationId xmlns:a16="http://schemas.microsoft.com/office/drawing/2014/main" id="{4AFC712A-24E6-CCFC-4883-B42EEA75E85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097838" y="4035425"/>
            <a:ext cx="152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7419325-AA4F-43DB-A704-70C1A08A9B32}" type="datetime'''Ju''''''''l'' ''''''''''''''2''''''''0''''2''''1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002" name="Text Placeholder 2">
            <a:extLst>
              <a:ext uri="{FF2B5EF4-FFF2-40B4-BE49-F238E27FC236}">
                <a16:creationId xmlns:a16="http://schemas.microsoft.com/office/drawing/2014/main" id="{6A252C0C-69D0-7778-ED71-5A9E7DD7F53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621713" y="4035425"/>
            <a:ext cx="152400" cy="538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3A629D0-ACDB-4DB2-93D1-D990E715D4DB}" type="datetime'''''''''S''''''''''''''e''''p'' ''''''2''0''''''''''''2''1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929" name="Text Placeholder 2">
            <a:extLst>
              <a:ext uri="{FF2B5EF4-FFF2-40B4-BE49-F238E27FC236}">
                <a16:creationId xmlns:a16="http://schemas.microsoft.com/office/drawing/2014/main" id="{75E8FC91-7C78-4034-8B89-7C49F65733A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22825" y="3916363"/>
            <a:ext cx="176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DBD6123-BA54-416F-A32A-59B77C12E1CA}" type="datetime'''''''''0''''''''M''''''''''''''''''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M</a:t>
            </a:fld>
            <a:endParaRPr lang="en-US" sz="1000"/>
          </a:p>
        </p:txBody>
      </p:sp>
      <p:sp>
        <p:nvSpPr>
          <p:cNvPr id="946" name="Text Placeholder 2">
            <a:extLst>
              <a:ext uri="{FF2B5EF4-FFF2-40B4-BE49-F238E27FC236}">
                <a16:creationId xmlns:a16="http://schemas.microsoft.com/office/drawing/2014/main" id="{187141B9-833A-FA50-97C1-8C2B867EF42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22825" y="3032125"/>
            <a:ext cx="176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EB9074D-6195-4FCA-95B8-55D0D6BE394A}" type="datetime'''''''''''''''''''''''''2M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M</a:t>
            </a:fld>
            <a:endParaRPr lang="en-US" sz="1000"/>
          </a:p>
        </p:txBody>
      </p:sp>
      <p:sp>
        <p:nvSpPr>
          <p:cNvPr id="947" name="Text Placeholder 2">
            <a:extLst>
              <a:ext uri="{FF2B5EF4-FFF2-40B4-BE49-F238E27FC236}">
                <a16:creationId xmlns:a16="http://schemas.microsoft.com/office/drawing/2014/main" id="{72937C68-A7E4-914E-6E17-E5D16C93D8F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22825" y="2149475"/>
            <a:ext cx="176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3B71593-054E-4487-B9DB-9FD6E6DBA21D}" type="datetime'''''''''''4M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M</a:t>
            </a:fld>
            <a:endParaRPr lang="en-US" sz="1000"/>
          </a:p>
        </p:txBody>
      </p:sp>
      <p:sp>
        <p:nvSpPr>
          <p:cNvPr id="948" name="Text Placeholder 2">
            <a:extLst>
              <a:ext uri="{FF2B5EF4-FFF2-40B4-BE49-F238E27FC236}">
                <a16:creationId xmlns:a16="http://schemas.microsoft.com/office/drawing/2014/main" id="{11C2B22E-9FA5-9DF5-6FE7-04F454D2104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22825" y="1265238"/>
            <a:ext cx="176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2155F5F-4310-4192-9577-375BBEB2F969}" type="datetime'6''''''M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M</a:t>
            </a:fld>
            <a:endParaRPr lang="en-US" sz="100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519A1C33-27E0-EE46-17B2-5C349C813048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47815898"/>
              </p:ext>
            </p:extLst>
          </p:nvPr>
        </p:nvGraphicFramePr>
        <p:xfrm>
          <a:off x="776288" y="1258888"/>
          <a:ext cx="3659187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952" name="Text Placeholder 2">
            <a:extLst>
              <a:ext uri="{FF2B5EF4-FFF2-40B4-BE49-F238E27FC236}">
                <a16:creationId xmlns:a16="http://schemas.microsoft.com/office/drawing/2014/main" id="{C53FA1BD-E855-A8CC-9D4E-4B888F96699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82638" y="4035425"/>
            <a:ext cx="152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6E827E9-3C7B-4B43-A78F-69BAED08E046}" type="datetime'''''''''J''u''l'' 2''''''''''''''0''2''''''''''''''''''''''0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954" name="Text Placeholder 2">
            <a:extLst>
              <a:ext uri="{FF2B5EF4-FFF2-40B4-BE49-F238E27FC236}">
                <a16:creationId xmlns:a16="http://schemas.microsoft.com/office/drawing/2014/main" id="{E5567D3B-45DF-488C-AAB7-343BA9E6EF8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290638" y="4035425"/>
            <a:ext cx="152400" cy="538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349AE39-C3CB-46B8-9BEB-DCCC5A2D1F1F}" type="datetime'''''''Se''''''''''''''p ''''''''''''20''''''''''''20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951" name="Text Placeholder 2">
            <a:extLst>
              <a:ext uri="{FF2B5EF4-FFF2-40B4-BE49-F238E27FC236}">
                <a16:creationId xmlns:a16="http://schemas.microsoft.com/office/drawing/2014/main" id="{4C694024-4803-183D-15AC-B852D9C055E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789113" y="4035425"/>
            <a:ext cx="152400" cy="53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77EC5E4-DF4F-4CCD-B4CF-CFF68F2D3B17}" type="datetime'''N''''''''o''''''''v'' 2''''''''0''''2''''''''0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957" name="Text Placeholder 2">
            <a:extLst>
              <a:ext uri="{FF2B5EF4-FFF2-40B4-BE49-F238E27FC236}">
                <a16:creationId xmlns:a16="http://schemas.microsoft.com/office/drawing/2014/main" id="{DDDE6D43-BC8A-2EB0-EBBC-FF88310A3E7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287588" y="4035425"/>
            <a:ext cx="152400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B3F1070-F50E-447B-A7A1-DE215A6BE844}" type="datetime'''''''''''''''''J''''''''''a''''n'' 2''''''''''02''''1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959" name="Text Placeholder 2">
            <a:extLst>
              <a:ext uri="{FF2B5EF4-FFF2-40B4-BE49-F238E27FC236}">
                <a16:creationId xmlns:a16="http://schemas.microsoft.com/office/drawing/2014/main" id="{E0F7B89E-7765-EF8D-1E6E-776E3F44FBF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771775" y="4035425"/>
            <a:ext cx="152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D0DE376-6AF6-4222-A5BA-973DFB5E25CE}" type="datetime'''''''''''''''M''''''''a''''r'' ''''''''20''''''2''1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961" name="Text Placeholder 2">
            <a:extLst>
              <a:ext uri="{FF2B5EF4-FFF2-40B4-BE49-F238E27FC236}">
                <a16:creationId xmlns:a16="http://schemas.microsoft.com/office/drawing/2014/main" id="{A33AF9BD-AA09-26E6-F50F-7A47A97A5CD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270250" y="4035425"/>
            <a:ext cx="152400" cy="554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9AEC6F9-4F14-4468-970A-074F279D5198}" type="datetime'''M''''''a''''y ''''''''''2''0''''''2''''''''''''''''1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963" name="Text Placeholder 2">
            <a:extLst>
              <a:ext uri="{FF2B5EF4-FFF2-40B4-BE49-F238E27FC236}">
                <a16:creationId xmlns:a16="http://schemas.microsoft.com/office/drawing/2014/main" id="{699AC585-BAD9-AADE-1F8C-DDACEC39B4E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768725" y="4035425"/>
            <a:ext cx="152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B229057-518B-4C4C-BC33-CE79DC4D0E44}" type="datetime'''''''''''''J''''u''l'''' ''2''''''''''0''''''''''''''2''''1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023" name="Text Placeholder 2">
            <a:extLst>
              <a:ext uri="{FF2B5EF4-FFF2-40B4-BE49-F238E27FC236}">
                <a16:creationId xmlns:a16="http://schemas.microsoft.com/office/drawing/2014/main" id="{5A6A8E01-2B77-6CA7-52A3-281368AD9A4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276725" y="4035425"/>
            <a:ext cx="152400" cy="538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9A2D155-4A29-44BC-8628-64ED412A25AA}" type="datetime'S''e''''''''''''''''''''''''''p'''' ''2''''0''2''''''''''''1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976" name="Text Placeholder 2">
            <a:extLst>
              <a:ext uri="{FF2B5EF4-FFF2-40B4-BE49-F238E27FC236}">
                <a16:creationId xmlns:a16="http://schemas.microsoft.com/office/drawing/2014/main" id="{BE1CC6A6-B39C-03BF-891B-3C5AE48B9F0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27050" y="3916363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ED51602-3A22-4831-8563-F3199A077AF9}" type="datetime'4''''''0''''''''''''''''''''''''''''M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M</a:t>
            </a:fld>
            <a:endParaRPr lang="en-US" sz="1000"/>
          </a:p>
        </p:txBody>
      </p:sp>
      <p:sp>
        <p:nvSpPr>
          <p:cNvPr id="977" name="Text Placeholder 2">
            <a:extLst>
              <a:ext uri="{FF2B5EF4-FFF2-40B4-BE49-F238E27FC236}">
                <a16:creationId xmlns:a16="http://schemas.microsoft.com/office/drawing/2014/main" id="{95C1ACA9-C891-4DB5-8556-AE970B01B6E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27050" y="3386138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5B04C36-F563-4151-8EAA-E8CA21D166BD}" type="datetime'''''4''''''''''''''''2''''''''M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2M</a:t>
            </a:fld>
            <a:endParaRPr lang="en-US" sz="1000"/>
          </a:p>
        </p:txBody>
      </p:sp>
      <p:sp>
        <p:nvSpPr>
          <p:cNvPr id="978" name="Text Placeholder 2">
            <a:extLst>
              <a:ext uri="{FF2B5EF4-FFF2-40B4-BE49-F238E27FC236}">
                <a16:creationId xmlns:a16="http://schemas.microsoft.com/office/drawing/2014/main" id="{A044E7EB-0BB7-98E4-34BB-48B537D43A9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27050" y="2855913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EB65A40-B582-422C-94F8-2FD4B6813654}" type="datetime'''4''''''''4''''''''M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4M</a:t>
            </a:fld>
            <a:endParaRPr lang="en-US" sz="1000"/>
          </a:p>
        </p:txBody>
      </p:sp>
      <p:sp>
        <p:nvSpPr>
          <p:cNvPr id="979" name="Text Placeholder 2">
            <a:extLst>
              <a:ext uri="{FF2B5EF4-FFF2-40B4-BE49-F238E27FC236}">
                <a16:creationId xmlns:a16="http://schemas.microsoft.com/office/drawing/2014/main" id="{9D0DD1A6-06D2-C2F9-18D8-810DED4D5DD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27050" y="2325688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7AF51D0-E209-495C-AB00-2333BDF70F29}" type="datetime'''''''''''''''4''''''''6''''''''''M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6M</a:t>
            </a:fld>
            <a:endParaRPr lang="en-US" sz="1000"/>
          </a:p>
        </p:txBody>
      </p:sp>
      <p:sp>
        <p:nvSpPr>
          <p:cNvPr id="980" name="Text Placeholder 2">
            <a:extLst>
              <a:ext uri="{FF2B5EF4-FFF2-40B4-BE49-F238E27FC236}">
                <a16:creationId xmlns:a16="http://schemas.microsoft.com/office/drawing/2014/main" id="{0BF54699-69BD-CAB3-7453-BEFF6B78D1D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27050" y="1795463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2C0E7DD-833E-419B-8FDC-E6EFCF8C8FF5}" type="datetime'''4''''''''''''''''''''''''''''''''''8''''''''''''''''M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8M</a:t>
            </a:fld>
            <a:endParaRPr lang="en-US" sz="1000"/>
          </a:p>
        </p:txBody>
      </p:sp>
      <p:sp>
        <p:nvSpPr>
          <p:cNvPr id="981" name="Text Placeholder 2">
            <a:extLst>
              <a:ext uri="{FF2B5EF4-FFF2-40B4-BE49-F238E27FC236}">
                <a16:creationId xmlns:a16="http://schemas.microsoft.com/office/drawing/2014/main" id="{2272588D-4C22-B004-2BF8-F2FEC97C85E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27050" y="1265238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8670CEA-25AB-4B24-8578-80317711DA26}" type="datetime'''5''''''''''''''0''''''''M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M</a:t>
            </a:fld>
            <a:endParaRPr lang="en-US" sz="1000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53AA468-2B44-842A-4002-9736367550A1}"/>
              </a:ext>
            </a:extLst>
          </p:cNvPr>
          <p:cNvCxnSpPr>
            <a:cxnSpLocks/>
          </p:cNvCxnSpPr>
          <p:nvPr/>
        </p:nvCxnSpPr>
        <p:spPr>
          <a:xfrm>
            <a:off x="2700105" y="1697111"/>
            <a:ext cx="1303007" cy="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6FDDA46A-6FFD-43DD-5F53-57410529E0A8}"/>
              </a:ext>
            </a:extLst>
          </p:cNvPr>
          <p:cNvSpPr/>
          <p:nvPr/>
        </p:nvSpPr>
        <p:spPr bwMode="auto">
          <a:xfrm>
            <a:off x="2646123" y="1351037"/>
            <a:ext cx="1410970" cy="298451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Post-shock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  <a:p>
            <a:pPr algn="ctr" rtl="0">
              <a:spcBef>
                <a:spcPts val="100"/>
              </a:spcBef>
            </a:pP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6 months following the shock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764D5A8-5019-D3EA-FB4A-E32FE125ADDB}"/>
              </a:ext>
            </a:extLst>
          </p:cNvPr>
          <p:cNvCxnSpPr>
            <a:cxnSpLocks/>
          </p:cNvCxnSpPr>
          <p:nvPr/>
        </p:nvCxnSpPr>
        <p:spPr>
          <a:xfrm>
            <a:off x="1163406" y="1697111"/>
            <a:ext cx="1303007" cy="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A5967C0C-3362-C1EE-2BA8-2E5C2D6A31D5}"/>
              </a:ext>
            </a:extLst>
          </p:cNvPr>
          <p:cNvSpPr/>
          <p:nvPr/>
        </p:nvSpPr>
        <p:spPr bwMode="auto">
          <a:xfrm>
            <a:off x="1172765" y="1351033"/>
            <a:ext cx="1284288" cy="298455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Pre-shock</a:t>
            </a:r>
          </a:p>
          <a:p>
            <a:pPr algn="ctr" rtl="0">
              <a:spcBef>
                <a:spcPts val="100"/>
              </a:spcBef>
            </a:pP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6 months prior to the shock</a:t>
            </a:r>
          </a:p>
        </p:txBody>
      </p:sp>
      <p:cxnSp>
        <p:nvCxnSpPr>
          <p:cNvPr id="906" name="Straight Arrow Connector 905">
            <a:extLst>
              <a:ext uri="{FF2B5EF4-FFF2-40B4-BE49-F238E27FC236}">
                <a16:creationId xmlns:a16="http://schemas.microsoft.com/office/drawing/2014/main" id="{9F7A873C-85B1-531F-039E-59004B4D49C0}"/>
              </a:ext>
            </a:extLst>
          </p:cNvPr>
          <p:cNvCxnSpPr>
            <a:cxnSpLocks/>
          </p:cNvCxnSpPr>
          <p:nvPr/>
        </p:nvCxnSpPr>
        <p:spPr>
          <a:xfrm>
            <a:off x="7003422" y="1697111"/>
            <a:ext cx="1303007" cy="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07" name="Rectangle 906">
            <a:extLst>
              <a:ext uri="{FF2B5EF4-FFF2-40B4-BE49-F238E27FC236}">
                <a16:creationId xmlns:a16="http://schemas.microsoft.com/office/drawing/2014/main" id="{3B7235C6-0E6D-78A7-DEEE-62BBD88B4CE9}"/>
              </a:ext>
            </a:extLst>
          </p:cNvPr>
          <p:cNvSpPr/>
          <p:nvPr/>
        </p:nvSpPr>
        <p:spPr bwMode="auto">
          <a:xfrm>
            <a:off x="6949440" y="1351033"/>
            <a:ext cx="1410970" cy="298451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Post-shock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  <a:p>
            <a:pPr algn="ctr" rtl="0">
              <a:spcBef>
                <a:spcPts val="100"/>
              </a:spcBef>
            </a:pP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6 months following the shock</a:t>
            </a:r>
          </a:p>
        </p:txBody>
      </p:sp>
      <p:cxnSp>
        <p:nvCxnSpPr>
          <p:cNvPr id="908" name="Straight Arrow Connector 907">
            <a:extLst>
              <a:ext uri="{FF2B5EF4-FFF2-40B4-BE49-F238E27FC236}">
                <a16:creationId xmlns:a16="http://schemas.microsoft.com/office/drawing/2014/main" id="{E9B40FF4-16AA-EB5E-33CA-5678FF9ACA7D}"/>
              </a:ext>
            </a:extLst>
          </p:cNvPr>
          <p:cNvCxnSpPr>
            <a:cxnSpLocks/>
          </p:cNvCxnSpPr>
          <p:nvPr/>
        </p:nvCxnSpPr>
        <p:spPr>
          <a:xfrm>
            <a:off x="5413541" y="1697111"/>
            <a:ext cx="1303007" cy="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09" name="Rectangle 908">
            <a:extLst>
              <a:ext uri="{FF2B5EF4-FFF2-40B4-BE49-F238E27FC236}">
                <a16:creationId xmlns:a16="http://schemas.microsoft.com/office/drawing/2014/main" id="{B423EC1A-A7FA-529F-E1E9-DE738EDB3E60}"/>
              </a:ext>
            </a:extLst>
          </p:cNvPr>
          <p:cNvSpPr/>
          <p:nvPr/>
        </p:nvSpPr>
        <p:spPr bwMode="auto">
          <a:xfrm>
            <a:off x="5422900" y="1351033"/>
            <a:ext cx="1284288" cy="298455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Pre-shock</a:t>
            </a:r>
          </a:p>
          <a:p>
            <a:pPr algn="ctr" rtl="0">
              <a:spcBef>
                <a:spcPts val="100"/>
              </a:spcBef>
            </a:pP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6 months prior to the shock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30D593D9-51F8-4CA9-86EF-D100A4BD4CC2}"/>
              </a:ext>
            </a:extLst>
          </p:cNvPr>
          <p:cNvSpPr txBox="1">
            <a:spLocks/>
          </p:cNvSpPr>
          <p:nvPr/>
        </p:nvSpPr>
        <p:spPr>
          <a:xfrm>
            <a:off x="4433288" y="4813918"/>
            <a:ext cx="277435" cy="129893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D41CA8C5-A4F6-8540-9A0C-2E1752B62ADF}" type="slidenum">
              <a:rPr lang="en-US" sz="800" smtClean="0"/>
              <a:pPr algn="ctr"/>
              <a:t>17</a:t>
            </a:fld>
            <a:endParaRPr lang="en-US" sz="8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74C6B29-09AD-42AB-303C-E425FEDCC693}"/>
              </a:ext>
            </a:extLst>
          </p:cNvPr>
          <p:cNvSpPr/>
          <p:nvPr/>
        </p:nvSpPr>
        <p:spPr bwMode="auto">
          <a:xfrm>
            <a:off x="862821" y="920542"/>
            <a:ext cx="3480579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Total Reddit comments over sample period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pike of comments during the shocked perio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6E0F352-7694-0844-ED8D-607B512AE2E8}"/>
              </a:ext>
            </a:extLst>
          </p:cNvPr>
          <p:cNvSpPr/>
          <p:nvPr/>
        </p:nvSpPr>
        <p:spPr bwMode="auto">
          <a:xfrm>
            <a:off x="5008563" y="4662660"/>
            <a:ext cx="182880" cy="182880"/>
          </a:xfrm>
          <a:prstGeom prst="rect">
            <a:avLst/>
          </a:prstGeom>
          <a:solidFill>
            <a:srgbClr val="FFCC99"/>
          </a:solidFill>
          <a:ln w="6350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CB9B350-983E-7500-6DE3-B70BFEB9808A}"/>
              </a:ext>
            </a:extLst>
          </p:cNvPr>
          <p:cNvSpPr/>
          <p:nvPr/>
        </p:nvSpPr>
        <p:spPr bwMode="auto">
          <a:xfrm>
            <a:off x="5242343" y="4662660"/>
            <a:ext cx="1091781" cy="18288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800" b="1" kern="1200">
                <a:solidFill>
                  <a:schemeClr val="tx1"/>
                </a:solidFill>
                <a:ea typeface="Tahoma"/>
                <a:cs typeface="Tahoma"/>
              </a:rPr>
              <a:t>Shock period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EBBC816-C9E5-A911-5039-D74BA57B8814}"/>
              </a:ext>
            </a:extLst>
          </p:cNvPr>
          <p:cNvSpPr/>
          <p:nvPr/>
        </p:nvSpPr>
        <p:spPr bwMode="auto">
          <a:xfrm>
            <a:off x="5084763" y="920542"/>
            <a:ext cx="3480579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Total r/</a:t>
            </a:r>
            <a:r>
              <a:rPr lang="en-US" sz="105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 comments over sample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Major spike during the shocked perio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CB3765-2B20-E6E1-DAD2-B480A5640F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8039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egression results confirm our initial findings from the plots…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8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2219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3515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pecifically, less engaged users complemented their engagement on r/</a:t>
            </a:r>
            <a:r>
              <a:rPr lang="en-US" err="1"/>
              <a:t>wallstreetbets</a:t>
            </a:r>
            <a:r>
              <a:rPr lang="en-US"/>
              <a:t> with engagement on other subreddits during the shoc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9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FD88397-31DF-4E40-394B-59288156035F}"/>
              </a:ext>
            </a:extLst>
          </p:cNvPr>
          <p:cNvSpPr/>
          <p:nvPr/>
        </p:nvSpPr>
        <p:spPr bwMode="auto">
          <a:xfrm>
            <a:off x="2126168" y="3313976"/>
            <a:ext cx="2674432" cy="134595"/>
          </a:xfrm>
          <a:prstGeom prst="rect">
            <a:avLst/>
          </a:prstGeom>
          <a:noFill/>
          <a:ln w="12700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7" name="Speech Bubble: Rectangle with Corners Rounded 26">
            <a:extLst>
              <a:ext uri="{FF2B5EF4-FFF2-40B4-BE49-F238E27FC236}">
                <a16:creationId xmlns:a16="http://schemas.microsoft.com/office/drawing/2014/main" id="{28F48D54-8623-BA91-381F-60EEECA05746}"/>
              </a:ext>
            </a:extLst>
          </p:cNvPr>
          <p:cNvSpPr/>
          <p:nvPr/>
        </p:nvSpPr>
        <p:spPr bwMode="auto">
          <a:xfrm>
            <a:off x="5760719" y="2786017"/>
            <a:ext cx="2138289" cy="662554"/>
          </a:xfrm>
          <a:prstGeom prst="wedgeRoundRectCallout">
            <a:avLst>
              <a:gd name="adj1" fmla="val -98273"/>
              <a:gd name="adj2" fmla="val 34103"/>
              <a:gd name="adj3" fmla="val 16667"/>
            </a:avLst>
          </a:prstGeom>
          <a:solidFill>
            <a:schemeClr val="bg1">
              <a:lumMod val="95000"/>
            </a:schemeClr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Complemente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d engagement on r/</a:t>
            </a:r>
            <a:r>
              <a:rPr lang="en-US" sz="10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 with engagement on other subreddits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68805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0E82D53-3D1C-CCB6-F16D-6C65794AF5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606" imgH="608" progId="TCLayout.ActiveDocument.1">
                  <p:embed/>
                </p:oleObj>
              </mc:Choice>
              <mc:Fallback>
                <p:oleObj name="think-cell Slide" r:id="rId44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E82D53-3D1C-CCB6-F16D-6C65794AF5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459CCE3-0A90-A95A-1478-79432A844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mmunity size in a social network is mainly tied to the extensive margin of value creation; Engagement is often triggered by interest wav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55A25C-CEAD-A7CE-7EF1-2BA88E30C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700" baseline="30000" dirty="0">
                <a:solidFill>
                  <a:srgbClr val="3D505A"/>
                </a:solidFill>
                <a:latin typeface="Arial"/>
              </a:rPr>
              <a:t>1</a:t>
            </a:r>
            <a:r>
              <a:rPr lang="en-US" sz="700" dirty="0">
                <a:solidFill>
                  <a:srgbClr val="3D505A"/>
                </a:solidFill>
                <a:latin typeface="Arial"/>
              </a:rPr>
              <a:t> Johannes </a:t>
            </a:r>
            <a:r>
              <a:rPr lang="en-US" sz="700" dirty="0" err="1">
                <a:solidFill>
                  <a:srgbClr val="3D505A"/>
                </a:solidFill>
                <a:latin typeface="Arial"/>
              </a:rPr>
              <a:t>Loh</a:t>
            </a:r>
            <a:r>
              <a:rPr lang="en-US" sz="700" dirty="0">
                <a:solidFill>
                  <a:srgbClr val="3D505A"/>
                </a:solidFill>
                <a:latin typeface="Arial"/>
              </a:rPr>
              <a:t> </a:t>
            </a:r>
            <a:r>
              <a:rPr lang="en-US" sz="700" dirty="0">
                <a:solidFill>
                  <a:srgbClr val="3D505A"/>
                </a:solidFill>
                <a:latin typeface="+mj-lt"/>
              </a:rPr>
              <a:t>and Tobias </a:t>
            </a:r>
            <a:r>
              <a:rPr lang="en-US" sz="700" dirty="0" err="1">
                <a:solidFill>
                  <a:srgbClr val="3D505A"/>
                </a:solidFill>
                <a:latin typeface="+mj-lt"/>
              </a:rPr>
              <a:t>Kretschmer</a:t>
            </a:r>
            <a:r>
              <a:rPr lang="en-US" sz="700" dirty="0">
                <a:solidFill>
                  <a:srgbClr val="3D505A"/>
                </a:solidFill>
                <a:latin typeface="+mj-lt"/>
              </a:rPr>
              <a:t>, “Online communities on competing platforms: Evidence </a:t>
            </a:r>
            <a:r>
              <a:rPr lang="en-US" sz="700" dirty="0">
                <a:latin typeface="+mj-lt"/>
                <a:ea typeface="Tahoma"/>
                <a:cs typeface="Tahoma"/>
              </a:rPr>
              <a:t>from game wikis”, 2022</a:t>
            </a:r>
            <a:br>
              <a:rPr lang="en-US" sz="700" dirty="0">
                <a:latin typeface="+mj-lt"/>
                <a:ea typeface="Tahoma"/>
                <a:cs typeface="Tahoma"/>
              </a:rPr>
            </a:br>
            <a:r>
              <a:rPr lang="en-US" sz="700" baseline="30000" dirty="0">
                <a:ea typeface="Tahoma"/>
                <a:cs typeface="Tahoma"/>
              </a:rPr>
              <a:t>2</a:t>
            </a:r>
            <a:r>
              <a:rPr lang="en-US" sz="700" dirty="0">
                <a:latin typeface="+mj-lt"/>
                <a:ea typeface="Tahoma"/>
                <a:cs typeface="Tahoma"/>
              </a:rPr>
              <a:t> Cody </a:t>
            </a:r>
            <a:r>
              <a:rPr lang="en-US" sz="700" dirty="0" err="1">
                <a:latin typeface="+mj-lt"/>
                <a:ea typeface="Tahoma"/>
                <a:cs typeface="Tahoma"/>
              </a:rPr>
              <a:t>Buntain</a:t>
            </a:r>
            <a:r>
              <a:rPr lang="en-US" sz="700" dirty="0">
                <a:latin typeface="+mj-lt"/>
                <a:ea typeface="Tahoma"/>
                <a:cs typeface="Tahoma"/>
              </a:rPr>
              <a:t> and Jennifer </a:t>
            </a:r>
            <a:r>
              <a:rPr lang="en-US" sz="700" dirty="0" err="1">
                <a:latin typeface="+mj-lt"/>
                <a:ea typeface="Tahoma"/>
                <a:cs typeface="Tahoma"/>
              </a:rPr>
              <a:t>Goldbeck</a:t>
            </a:r>
            <a:r>
              <a:rPr lang="en-US" sz="700" dirty="0">
                <a:latin typeface="+mj-lt"/>
                <a:ea typeface="Tahoma"/>
                <a:cs typeface="Tahoma"/>
              </a:rPr>
              <a:t>, “Identifying Social Roles in reddit Using Network Structure”, 2014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D8F352-A253-C39B-5BE3-52CC4D1D0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2</a:t>
            </a:fld>
            <a:endParaRPr lang="en-US"/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A6B6F610-1459-0462-7C49-F60B570DF286}"/>
              </a:ext>
            </a:extLst>
          </p:cNvPr>
          <p:cNvSpPr/>
          <p:nvPr/>
        </p:nvSpPr>
        <p:spPr bwMode="auto">
          <a:xfrm>
            <a:off x="5048164" y="1076419"/>
            <a:ext cx="1754971" cy="196031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endParaRPr lang="en-US" sz="800" b="1" kern="1200" dirty="0">
              <a:solidFill>
                <a:schemeClr val="tx1"/>
              </a:solidFill>
              <a:ea typeface="Tahoma"/>
              <a:cs typeface="Tahoma"/>
            </a:endParaRPr>
          </a:p>
        </p:txBody>
      </p:sp>
      <p:graphicFrame>
        <p:nvGraphicFramePr>
          <p:cNvPr id="214" name="Chart 213">
            <a:extLst>
              <a:ext uri="{FF2B5EF4-FFF2-40B4-BE49-F238E27FC236}">
                <a16:creationId xmlns:a16="http://schemas.microsoft.com/office/drawing/2014/main" id="{5773EE83-19BE-B2B4-B0EB-8DEB1446F3C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1515166"/>
              </p:ext>
            </p:extLst>
          </p:nvPr>
        </p:nvGraphicFramePr>
        <p:xfrm>
          <a:off x="5126667" y="1229174"/>
          <a:ext cx="3270441" cy="1049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85957EA8-F9EC-40A3-D455-FF373217319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281125" y="2274906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244D1E-17D0-459A-93E3-DF69DDBFD656}" type="datetime'''2''''''''''''''''''''''''''''''''''0''''16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800" dirty="0"/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BFE90634-E5BA-AA25-108B-7E61155CE84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823808" y="2122506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F8B746C-31A3-4BFA-9D03-ED35BBFE496D}" type="datetime'''0''''''''''''''''''''''''''''''''''''''''''''''%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800" dirty="0"/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8FF866E4-FF58-477E-54B4-1ACC57C6E3E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240143" y="2268546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6D4035-2B12-4690-B7DF-FE2B1E160BE1}" type="datetime'''''''''''''''''''''''''''''2''0''''1''''''''''''''''1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800" dirty="0"/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61E1663C-B03F-4FE6-FB1F-7BD9C399BE4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024573" y="2274906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B0A661-574D-4042-B217-9BE4D1A40EAF}" type="datetime'''''''''''''''2''0''''1''''''''''''''''3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800" dirty="0"/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FFF45729-7E2C-5F6C-2E7B-48A263AFC64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632358" y="2268546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49B49F-074A-4103-BEDB-EC4F0E77071A}" type="datetime'''''''''''''''''2''0''''''''''''''1''''2''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800" dirty="0"/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E768D8A9-C466-5E27-1C7F-44A684A6053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073697" y="2258610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208573-501C-4E3B-84F7-9DC2693B3F5A}" type="datetime'''''2''0''''1''''8''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800"/>
          </a:p>
        </p:txBody>
      </p: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ACB05592-246F-9C26-79F1-1ACE8A6E20E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456741" y="2275710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1232D9-DBFE-493D-8272-138C4C845FEA}" type="datetime'''''''''''''''''''''''''2''''0''''''''''1''''''''''4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800" dirty="0"/>
          </a:p>
        </p:txBody>
      </p:sp>
      <p:sp>
        <p:nvSpPr>
          <p:cNvPr id="222" name="Text Placeholder 2">
            <a:extLst>
              <a:ext uri="{FF2B5EF4-FFF2-40B4-BE49-F238E27FC236}">
                <a16:creationId xmlns:a16="http://schemas.microsoft.com/office/drawing/2014/main" id="{11C9F1CB-FBFA-86EC-EE07-9E4188DEBC8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897055" y="2269909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6CCB08-98DB-4588-BE0D-064409769CC2}" type="datetime'''''''''''''2''0''''''''''''''''''''''1''''5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800"/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094ADE5F-2E02-E429-04F5-9E499936B95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681485" y="2270842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222651-0016-4B8D-A9C7-30765158DFCA}" type="datetime'''''''''''''''''''2''017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800"/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C1A2FADD-D967-27F7-2D59-B4EFA0C107E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768681" y="1894411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15E2493-AC2F-48AB-A97F-77E256DD4309}" type="datetime'''''''''2''''''''''5%'''''''''''''''''''''''''''''''">
              <a:rPr lang="en-US" altLang="en-US" sz="8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%</a:t>
            </a:fld>
            <a:endParaRPr lang="en-US" sz="800"/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9E539ADA-7832-E452-9292-CF38C0FC1A8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768681" y="1679592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FC86B2F-043A-42E4-AF03-C63909FEFD4F}" type="datetime'''''''''''''''''''''''''''''''''''5''''0''''''''%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%</a:t>
            </a:fld>
            <a:endParaRPr lang="en-US" sz="800"/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F5EFBD0D-34CA-0537-4E65-DB735509DD9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768681" y="1464773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9360818-EFA4-4B71-A6DE-778E435B1E68}" type="datetime'7''''''''5''''''%'''''''">
              <a:rPr lang="en-US" altLang="en-US" sz="8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5%</a:t>
            </a:fld>
            <a:endParaRPr lang="en-US" sz="800"/>
          </a:p>
        </p:txBody>
      </p:sp>
      <p:sp>
        <p:nvSpPr>
          <p:cNvPr id="227" name="Text Placeholder 2">
            <a:extLst>
              <a:ext uri="{FF2B5EF4-FFF2-40B4-BE49-F238E27FC236}">
                <a16:creationId xmlns:a16="http://schemas.microsoft.com/office/drawing/2014/main" id="{9160DED5-9CD9-DD91-B0C9-BC1BDF73624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698831" y="1249954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A4500B6-6971-49B9-834F-F0E2A577E29C}" type="datetime'1''''''''''''''''00''''''''''''''''''''''''''%''''''''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800"/>
          </a:p>
        </p:txBody>
      </p:sp>
      <p:pic>
        <p:nvPicPr>
          <p:cNvPr id="228" name="Picture 2">
            <a:extLst>
              <a:ext uri="{FF2B5EF4-FFF2-40B4-BE49-F238E27FC236}">
                <a16:creationId xmlns:a16="http://schemas.microsoft.com/office/drawing/2014/main" id="{8DB69B63-61BE-5C46-8A34-36EFC30006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28808">
            <a:off x="6293374" y="1234223"/>
            <a:ext cx="673079" cy="130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9" name="Picture 228">
            <a:extLst>
              <a:ext uri="{FF2B5EF4-FFF2-40B4-BE49-F238E27FC236}">
                <a16:creationId xmlns:a16="http://schemas.microsoft.com/office/drawing/2014/main" id="{63E9FBF0-DE97-B16B-CFBC-3B6B65AB0AD7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6396691" y="1634352"/>
            <a:ext cx="181328" cy="147329"/>
          </a:xfrm>
          <a:prstGeom prst="rect">
            <a:avLst/>
          </a:prstGeom>
        </p:spPr>
      </p:pic>
      <p:sp>
        <p:nvSpPr>
          <p:cNvPr id="263" name="Rectangle 262">
            <a:extLst>
              <a:ext uri="{FF2B5EF4-FFF2-40B4-BE49-F238E27FC236}">
                <a16:creationId xmlns:a16="http://schemas.microsoft.com/office/drawing/2014/main" id="{8AE23781-2EAD-BF4D-F842-D4016AD09C76}"/>
              </a:ext>
            </a:extLst>
          </p:cNvPr>
          <p:cNvSpPr/>
          <p:nvPr/>
        </p:nvSpPr>
        <p:spPr bwMode="auto">
          <a:xfrm>
            <a:off x="4820371" y="837341"/>
            <a:ext cx="4098205" cy="381914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kern="1200" dirty="0">
                <a:solidFill>
                  <a:schemeClr val="accent1"/>
                </a:solidFill>
                <a:ea typeface="Tahoma"/>
                <a:cs typeface="Tahoma"/>
              </a:rPr>
              <a:t>The </a:t>
            </a:r>
            <a:r>
              <a:rPr lang="en-US" sz="1000" dirty="0">
                <a:solidFill>
                  <a:schemeClr val="accent1"/>
                </a:solidFill>
                <a:ea typeface="Tahoma"/>
                <a:cs typeface="Tahoma"/>
              </a:rPr>
              <a:t>relative importance of </a:t>
            </a:r>
            <a:r>
              <a:rPr lang="en-US" sz="1000" b="1" dirty="0">
                <a:solidFill>
                  <a:schemeClr val="accent1"/>
                </a:solidFill>
                <a:ea typeface="Tahoma"/>
                <a:cs typeface="Tahoma"/>
              </a:rPr>
              <a:t>community size</a:t>
            </a:r>
            <a:r>
              <a:rPr lang="en-US" sz="1000" dirty="0">
                <a:solidFill>
                  <a:schemeClr val="accent1"/>
                </a:solidFill>
                <a:ea typeface="Tahoma"/>
                <a:cs typeface="Tahoma"/>
              </a:rPr>
              <a:t> is shown by </a:t>
            </a:r>
            <a:r>
              <a:rPr lang="en-US" sz="1000" b="1" dirty="0">
                <a:solidFill>
                  <a:schemeClr val="accent1"/>
                </a:solidFill>
                <a:ea typeface="Tahoma"/>
                <a:cs typeface="Tahoma"/>
              </a:rPr>
              <a:t>a</a:t>
            </a:r>
            <a:r>
              <a:rPr lang="en-US" sz="1000" b="1" kern="1200" dirty="0">
                <a:solidFill>
                  <a:schemeClr val="accent1"/>
                </a:solidFill>
                <a:ea typeface="Tahoma"/>
                <a:cs typeface="Tahoma"/>
              </a:rPr>
              <a:t>doption models</a:t>
            </a:r>
            <a:r>
              <a:rPr lang="en-US" sz="1000" kern="1200" dirty="0">
                <a:solidFill>
                  <a:schemeClr val="accent1"/>
                </a:solidFill>
                <a:ea typeface="Tahoma"/>
                <a:cs typeface="Tahoma"/>
              </a:rPr>
              <a:t> in the literature</a:t>
            </a:r>
            <a:r>
              <a:rPr lang="en-US" sz="1000" kern="1200" baseline="30000" dirty="0">
                <a:solidFill>
                  <a:schemeClr val="accent1"/>
                </a:solidFill>
                <a:ea typeface="Tahoma"/>
                <a:cs typeface="Tahoma"/>
              </a:rPr>
              <a:t>3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701B6B5-50A6-C102-0F4A-13A46F46DC41}"/>
              </a:ext>
            </a:extLst>
          </p:cNvPr>
          <p:cNvSpPr/>
          <p:nvPr/>
        </p:nvSpPr>
        <p:spPr bwMode="auto">
          <a:xfrm>
            <a:off x="461235" y="837341"/>
            <a:ext cx="3911356" cy="1803557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rtl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The economics literature tells us that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several factors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(e.g.,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 network effects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quality, multi-homing costs)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affect the growth of platforms: e.g., (Zhu and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Iansiti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2012), Lee (2013)</a:t>
            </a:r>
            <a:r>
              <a:rPr lang="en-US" sz="1000" kern="1200" baseline="30000" dirty="0">
                <a:solidFill>
                  <a:schemeClr val="tx1"/>
                </a:solidFill>
                <a:ea typeface="Tahoma"/>
                <a:cs typeface="Tahoma"/>
              </a:rPr>
              <a:t>3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</a:t>
            </a: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ea typeface="Tahoma"/>
                <a:cs typeface="Tahoma"/>
              </a:rPr>
              <a:t>P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latforms with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more contributors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have more productive volunteer communities (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Loh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and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Kretschmer</a:t>
            </a:r>
            <a:r>
              <a:rPr lang="en-US" sz="1000" dirty="0">
                <a:solidFill>
                  <a:schemeClr val="tx1"/>
                </a:solidFill>
                <a:ea typeface="Tahoma"/>
                <a:cs typeface="Tahoma"/>
              </a:rPr>
              <a:t>,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2022)</a:t>
            </a:r>
            <a:r>
              <a:rPr lang="en-US" sz="1000" kern="1200" baseline="30000" dirty="0">
                <a:solidFill>
                  <a:schemeClr val="tx1"/>
                </a:solidFill>
                <a:ea typeface="Tahoma"/>
                <a:cs typeface="Tahoma"/>
              </a:rPr>
              <a:t>1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- this relationship is mainly driven by the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extensive margin</a:t>
            </a:r>
            <a:endParaRPr lang="en-US" sz="1000" b="1" dirty="0">
              <a:solidFill>
                <a:schemeClr val="tx1"/>
              </a:solidFill>
              <a:ea typeface="Tahoma"/>
              <a:cs typeface="Tahoma"/>
            </a:endParaRP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Social networks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attract audiences that can be monetized via advertising – the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intensive margin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engagement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is key</a:t>
            </a: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000" kern="1200" dirty="0">
              <a:solidFill>
                <a:schemeClr val="tx1"/>
              </a:solidFill>
              <a:ea typeface="Tahoma"/>
              <a:cs typeface="Tahoma"/>
            </a:endParaRPr>
          </a:p>
          <a:p>
            <a:pPr>
              <a:spcBef>
                <a:spcPts val="300"/>
              </a:spcBef>
              <a:spcAft>
                <a:spcPts val="600"/>
              </a:spcAft>
            </a:pPr>
            <a:endParaRPr lang="en-US" sz="1000" b="1" kern="1200" dirty="0">
              <a:solidFill>
                <a:schemeClr val="accent1"/>
              </a:solidFill>
              <a:ea typeface="Tahoma"/>
              <a:cs typeface="Tahoma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2BBC1B-1007-9674-EA66-B320C2A5AFE0}"/>
              </a:ext>
            </a:extLst>
          </p:cNvPr>
          <p:cNvSpPr/>
          <p:nvPr/>
        </p:nvSpPr>
        <p:spPr bwMode="auto">
          <a:xfrm flipH="1">
            <a:off x="4624077" y="1027361"/>
            <a:ext cx="116964" cy="145281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vert270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kern="1200" dirty="0">
                <a:solidFill>
                  <a:schemeClr val="accent1"/>
                </a:solidFill>
                <a:ea typeface="Tahoma"/>
                <a:cs typeface="Tahoma"/>
              </a:rPr>
              <a:t>Platform penetration rate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C738DCC6-3753-9099-F7A2-24017BC718C2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222025448"/>
              </p:ext>
            </p:extLst>
          </p:nvPr>
        </p:nvGraphicFramePr>
        <p:xfrm>
          <a:off x="5179467" y="2907927"/>
          <a:ext cx="3352319" cy="1557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09380E-D803-B8C9-1313-034F4C7551C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353050" y="4422775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4A94B6-C449-456F-8444-5A1163BC3B44}" type="datetime'''Se''''''''''''p'''''''''' ''''''''''''''20''''''2''''0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72872F6-2B64-E101-B3C9-8A49D2E4969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875338" y="4422775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55CE1AD-D226-4A9B-AE53-DCF56BCEEF65}" type="datetime'''N''''''''o''''''v'''''''''' ''''''''''''''''''2''0''2''0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57B8926-68D5-1EF0-617A-16B39F2189B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405563" y="4422775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4D810F-7748-4854-B389-62C9C4C5EC82}" type="datetime'''''J''''''a''n'''' 20''''''''''''''''''''''''''''''''''2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583E42B-DE54-65C3-7EA5-0D1EE72A120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907213" y="4422775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99FA66-66B6-4D46-9593-FFDD2EB08311}" type="datetime'''''''''''''''''M''''''''''''a''''''''''''r ''20''''''21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F9DFDE4-8938-D8D0-4A47-50C84EDEA60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421563" y="4422775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4F17179-A538-4435-9C8F-0459E41CDDD0}" type="datetime'''''M''''''ay'''''''' ''''2''''''''''''''''''''021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ABB5BD29-E6AA-85A7-DA49-7495DE4F683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974013" y="4422775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650FFB-8B6B-478F-8AB4-CC91C2233DED}" type="datetime'''J''''''''''u''''l'''''''''''' ''''2''''''''0''2''1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911FDA6-F5B6-D488-C21F-DF012B2F15D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832350" y="432911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D8DC89D-72B8-4B81-B378-C742DDF99BA3}" type="datetime'0''''''''''''''''.''''''0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57DA9F0-2281-11FA-B2FA-62A04F89313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832350" y="41624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691B520-9767-4706-81B8-A2ED0B2EF634}" type="datetime'''''0.''''''''''''''''''''''2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FA65461-AF5A-1EA1-BB87-C3DACF69F12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832350" y="39941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04AF989-4CB7-4CE9-8814-515DA25942C2}" type="datetime'''''''''''''0''''''''''.''''''''''''''4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039EB2D-3F2F-8386-C8DA-1238D8AC168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832350" y="38274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FD9FE5-8AF5-4193-81B6-CBA47730B27E}" type="datetime'''''''''''''''''''''''''0''''''''''''''''.6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B19EDCC4-7999-60EE-C725-C391F5F7E59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832350" y="366077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A49431F-01F0-4A4F-BEF4-76100228E089}" type="datetime'''''''''''''''''''''0''''''''''''''''''''.''''''''8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8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56165AF7-D689-DCDC-2ACC-B97B82AC067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832350" y="34925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EB36748-2F6D-49AD-8CD5-BD5ACCDF4BE2}" type="datetime'1.''''''''''0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80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A2A5A33-0FB9-5D3D-215E-E44D3B04AE8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832350" y="332581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BC52B21-936B-42FA-9667-02BEF6B6F1CF}" type="datetime'''''''''''''''1''''''''''.''''''''''''''''2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80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09AE480-4809-1717-7CE6-ABBCD91AF8C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832350" y="31591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B521564-3C59-4F46-AAEA-FC699E04F99B}" type="datetime'''''''''''''''''''''''''''''''''''1''.''4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8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06CDEC60-DEA3-6C1C-D898-BDBB28590B4C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832350" y="29908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EA61F71-2748-4CEA-B825-47D2A17DAB25}" type="datetime'''1''''''''''''''.''''''''''6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80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206E7F6C-F896-069D-77E5-42A28EAA0DA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832350" y="28241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8C3AE79-BFE0-4F96-9D3C-FF02DE6A559F}" type="datetime'''''''1''''''''''''''''.''''''''''''8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80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39C0F94E-C45E-59C6-8667-10B145ACA71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500458" y="265747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en-US" sz="80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1A71E5-42FC-0E7D-FE75-A800503F3DD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920404" y="225528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en-US" sz="80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0D3F9AD6-2876-220F-553F-167935A0414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920404" y="208859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en-US" sz="800" dirty="0"/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58104DE-F4E5-8ECB-F2DC-FF9342819D18}"/>
              </a:ext>
            </a:extLst>
          </p:cNvPr>
          <p:cNvGrpSpPr/>
          <p:nvPr/>
        </p:nvGrpSpPr>
        <p:grpSpPr>
          <a:xfrm>
            <a:off x="7027015" y="3071011"/>
            <a:ext cx="106363" cy="314325"/>
            <a:chOff x="7027015" y="2488036"/>
            <a:chExt cx="106363" cy="314325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C041A354-CF01-CAC5-F30D-649280F2148F}"/>
                </a:ext>
              </a:extLst>
            </p:cNvPr>
            <p:cNvCxnSpPr/>
            <p:nvPr>
              <p:custDataLst>
                <p:tags r:id="rId39"/>
              </p:custDataLst>
            </p:nvPr>
          </p:nvCxnSpPr>
          <p:spPr bwMode="gray">
            <a:xfrm>
              <a:off x="7027015" y="2488036"/>
              <a:ext cx="106363" cy="0"/>
            </a:xfrm>
            <a:prstGeom prst="line">
              <a:avLst/>
            </a:prstGeom>
            <a:ln w="19050" cap="rnd" cmpd="sng" algn="ctr">
              <a:solidFill>
                <a:srgbClr val="FF57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A2A9D0BF-8705-95E9-8B01-E703B39B5254}"/>
                </a:ext>
              </a:extLst>
            </p:cNvPr>
            <p:cNvCxnSpPr/>
            <p:nvPr>
              <p:custDataLst>
                <p:tags r:id="rId40"/>
              </p:custDataLst>
            </p:nvPr>
          </p:nvCxnSpPr>
          <p:spPr bwMode="gray">
            <a:xfrm>
              <a:off x="7027015" y="2645198"/>
              <a:ext cx="106363" cy="0"/>
            </a:xfrm>
            <a:prstGeom prst="line">
              <a:avLst/>
            </a:prstGeom>
            <a:ln w="19050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44F4B87-CED8-D588-9C9D-FD03DDE38C3C}"/>
                </a:ext>
              </a:extLst>
            </p:cNvPr>
            <p:cNvCxnSpPr/>
            <p:nvPr>
              <p:custDataLst>
                <p:tags r:id="rId41"/>
              </p:custDataLst>
            </p:nvPr>
          </p:nvCxnSpPr>
          <p:spPr bwMode="gray">
            <a:xfrm>
              <a:off x="7027015" y="2802361"/>
              <a:ext cx="106363" cy="0"/>
            </a:xfrm>
            <a:prstGeom prst="line">
              <a:avLst/>
            </a:prstGeom>
            <a:ln w="19050" cap="rnd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376B5E79-BA8E-5436-206C-19228E326DB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193702" y="3185618"/>
            <a:ext cx="14065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700" dirty="0"/>
              <a:t>Comments on shocked Subreddit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E2C32FB7-3194-84A2-4194-EF4D8668088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193703" y="3314428"/>
            <a:ext cx="1203406" cy="133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2EE2EBE-BBAB-4B3E-9987-F04364324328}" type="datetime'Mean ''com''ments'''' o''''''n all'' o''ther'' Subreddit''s'">
              <a:rPr lang="en-US" altLang="en-US" sz="7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700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47FF03C-EE8B-D148-D8BE-C49BC06AA4B2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193702" y="3044871"/>
            <a:ext cx="85248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700" dirty="0"/>
              <a:t>Total comment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B984BB4-979A-3D0D-B858-3696766E76E8}"/>
              </a:ext>
            </a:extLst>
          </p:cNvPr>
          <p:cNvSpPr/>
          <p:nvPr/>
        </p:nvSpPr>
        <p:spPr bwMode="auto">
          <a:xfrm rot="16200000">
            <a:off x="3774429" y="3566190"/>
            <a:ext cx="1810453" cy="16171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800" kern="1200" dirty="0">
                <a:solidFill>
                  <a:schemeClr val="tx1"/>
                </a:solidFill>
                <a:ea typeface="Tahoma"/>
                <a:cs typeface="Tahoma"/>
              </a:rPr>
              <a:t>Number of comments per day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FE6B060-5407-D64C-9D0E-4C12B4647E69}"/>
              </a:ext>
            </a:extLst>
          </p:cNvPr>
          <p:cNvSpPr/>
          <p:nvPr/>
        </p:nvSpPr>
        <p:spPr bwMode="auto">
          <a:xfrm>
            <a:off x="461235" y="2824163"/>
            <a:ext cx="3911356" cy="1662832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Value on digital platforms</a:t>
            </a:r>
            <a:r>
              <a:rPr lang="en-US" sz="1000" dirty="0">
                <a:solidFill>
                  <a:schemeClr val="tx1"/>
                </a:solidFill>
                <a:ea typeface="Tahoma"/>
                <a:cs typeface="Tahoma"/>
              </a:rPr>
              <a:t> (e.g.,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Reddit</a:t>
            </a:r>
            <a:r>
              <a:rPr lang="en-US" sz="1000" dirty="0">
                <a:solidFill>
                  <a:schemeClr val="tx1"/>
                </a:solidFill>
                <a:ea typeface="Tahoma"/>
                <a:cs typeface="Tahoma"/>
              </a:rPr>
              <a:t>)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often created by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communities of volunteers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(e.g.,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Fershtman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&amp;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Gandal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2011; Lakhani &amp; Wolf, 2005; Lerner &amp;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Tirole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2002)</a:t>
            </a: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Engagement in those communities can be an isolated phenomenon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(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Buntain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&amp;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Golbeck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2014)</a:t>
            </a:r>
            <a:r>
              <a:rPr lang="en-US" sz="1000" baseline="30000" dirty="0">
                <a:solidFill>
                  <a:schemeClr val="tx1"/>
                </a:solidFill>
              </a:rPr>
              <a:t>2</a:t>
            </a: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i="0" dirty="0">
                <a:solidFill>
                  <a:schemeClr val="tx1"/>
                </a:solidFill>
                <a:effectLst/>
              </a:rPr>
              <a:t>However, a </a:t>
            </a:r>
            <a:r>
              <a:rPr lang="en-US" sz="1000" b="1" i="0" dirty="0">
                <a:solidFill>
                  <a:schemeClr val="tx1"/>
                </a:solidFill>
                <a:effectLst/>
              </a:rPr>
              <a:t>trigger event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b="0" i="0" dirty="0">
                <a:solidFill>
                  <a:schemeClr val="tx1"/>
                </a:solidFill>
                <a:effectLst/>
              </a:rPr>
              <a:t>(Pang, 2013)</a:t>
            </a:r>
            <a:r>
              <a:rPr lang="en-US" sz="1000" b="0" i="0" baseline="30000" dirty="0">
                <a:solidFill>
                  <a:schemeClr val="tx1"/>
                </a:solidFill>
                <a:effectLst/>
              </a:rPr>
              <a:t> </a:t>
            </a:r>
            <a:r>
              <a:rPr lang="en-US" sz="1000" dirty="0">
                <a:solidFill>
                  <a:schemeClr val="tx1"/>
                </a:solidFill>
              </a:rPr>
              <a:t>can unveil </a:t>
            </a:r>
            <a:r>
              <a:rPr lang="en-US" sz="1000" b="1" dirty="0">
                <a:solidFill>
                  <a:schemeClr val="tx1"/>
                </a:solidFill>
              </a:rPr>
              <a:t>spill-overs in engagement</a:t>
            </a:r>
            <a:r>
              <a:rPr lang="en-US" sz="1000" dirty="0">
                <a:solidFill>
                  <a:schemeClr val="tx1"/>
                </a:solidFill>
              </a:rPr>
              <a:t> across communities (e.g., Subreddits) and the dynamics of engagement</a:t>
            </a:r>
          </a:p>
          <a:p>
            <a:pPr>
              <a:spcBef>
                <a:spcPts val="300"/>
              </a:spcBef>
              <a:spcAft>
                <a:spcPts val="600"/>
              </a:spcAft>
            </a:pPr>
            <a:endParaRPr lang="en-US" sz="1000" b="1" kern="1200" dirty="0">
              <a:solidFill>
                <a:schemeClr val="accent1"/>
              </a:solidFill>
              <a:ea typeface="Tahoma"/>
              <a:cs typeface="Tahoma"/>
            </a:endParaRPr>
          </a:p>
        </p:txBody>
      </p:sp>
      <p:sp>
        <p:nvSpPr>
          <p:cNvPr id="47" name="Footer Placeholder 2">
            <a:extLst>
              <a:ext uri="{FF2B5EF4-FFF2-40B4-BE49-F238E27FC236}">
                <a16:creationId xmlns:a16="http://schemas.microsoft.com/office/drawing/2014/main" id="{D1A5D73B-B6E9-CC58-7C96-11FC7B23E807}"/>
              </a:ext>
            </a:extLst>
          </p:cNvPr>
          <p:cNvSpPr txBox="1">
            <a:spLocks/>
          </p:cNvSpPr>
          <p:nvPr/>
        </p:nvSpPr>
        <p:spPr>
          <a:xfrm>
            <a:off x="5021094" y="4677147"/>
            <a:ext cx="3340617" cy="405555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C421086-30E4-CF34-4BF5-C16D288F4E4C}"/>
              </a:ext>
            </a:extLst>
          </p:cNvPr>
          <p:cNvSpPr/>
          <p:nvPr/>
        </p:nvSpPr>
        <p:spPr bwMode="auto">
          <a:xfrm>
            <a:off x="4954149" y="2503158"/>
            <a:ext cx="3911356" cy="381914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b="1" kern="1200" dirty="0">
                <a:solidFill>
                  <a:schemeClr val="accent1"/>
                </a:solidFill>
                <a:ea typeface="Tahoma"/>
                <a:cs typeface="Tahoma"/>
              </a:rPr>
              <a:t>Engagement </a:t>
            </a:r>
            <a:r>
              <a:rPr lang="en-US" sz="1000" dirty="0">
                <a:solidFill>
                  <a:schemeClr val="accent1"/>
                </a:solidFill>
                <a:ea typeface="Tahoma"/>
                <a:cs typeface="Tahoma"/>
              </a:rPr>
              <a:t>seems less strongly tied to community size; </a:t>
            </a:r>
            <a:r>
              <a:rPr lang="en-US" sz="1000" b="1" dirty="0">
                <a:solidFill>
                  <a:schemeClr val="accent1"/>
                </a:solidFill>
                <a:ea typeface="Tahoma"/>
                <a:cs typeface="Tahoma"/>
              </a:rPr>
              <a:t>trigger events </a:t>
            </a:r>
            <a:r>
              <a:rPr lang="en-US" sz="1000" dirty="0">
                <a:solidFill>
                  <a:schemeClr val="accent1"/>
                </a:solidFill>
                <a:ea typeface="Tahoma"/>
                <a:cs typeface="Tahoma"/>
              </a:rPr>
              <a:t>can reveal key patterns</a:t>
            </a:r>
            <a:endParaRPr lang="en-US" sz="1000" kern="1200" dirty="0">
              <a:solidFill>
                <a:schemeClr val="accent1"/>
              </a:solidFill>
              <a:ea typeface="Tahoma"/>
              <a:cs typeface="Tahoma"/>
            </a:endParaRPr>
          </a:p>
        </p:txBody>
      </p:sp>
      <p:sp>
        <p:nvSpPr>
          <p:cNvPr id="53" name="Footer Placeholder 2">
            <a:extLst>
              <a:ext uri="{FF2B5EF4-FFF2-40B4-BE49-F238E27FC236}">
                <a16:creationId xmlns:a16="http://schemas.microsoft.com/office/drawing/2014/main" id="{A1576024-C48E-3E06-556B-152F3970CD05}"/>
              </a:ext>
            </a:extLst>
          </p:cNvPr>
          <p:cNvSpPr txBox="1">
            <a:spLocks/>
          </p:cNvSpPr>
          <p:nvPr/>
        </p:nvSpPr>
        <p:spPr>
          <a:xfrm>
            <a:off x="5056492" y="4684138"/>
            <a:ext cx="2726542" cy="405555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baseline="30000" dirty="0">
                <a:solidFill>
                  <a:srgbClr val="3D505A"/>
                </a:solidFill>
                <a:latin typeface="Arial"/>
              </a:rPr>
              <a:t>3</a:t>
            </a:r>
            <a:r>
              <a:rPr lang="en-US" sz="700" dirty="0">
                <a:solidFill>
                  <a:srgbClr val="3D505A"/>
                </a:solidFill>
                <a:latin typeface="Arial"/>
              </a:rPr>
              <a:t> Robin Lee</a:t>
            </a:r>
            <a:r>
              <a:rPr lang="en-US" sz="700">
                <a:solidFill>
                  <a:srgbClr val="3D505A"/>
                </a:solidFill>
                <a:latin typeface="Arial"/>
              </a:rPr>
              <a:t>, “Vertical Integration and Exclusivity in Platform and Two-Sided Markets”, </a:t>
            </a:r>
            <a:r>
              <a:rPr lang="en-US" sz="700" dirty="0">
                <a:solidFill>
                  <a:srgbClr val="3D505A"/>
                </a:solidFill>
                <a:latin typeface="Arial"/>
              </a:rPr>
              <a:t>2013</a:t>
            </a:r>
          </a:p>
          <a:p>
            <a:r>
              <a:rPr lang="en-US" sz="700" baseline="30000" dirty="0">
                <a:solidFill>
                  <a:srgbClr val="3D505A"/>
                </a:solidFill>
                <a:latin typeface="Arial"/>
              </a:rPr>
              <a:t>4</a:t>
            </a:r>
            <a:r>
              <a:rPr lang="en-US" sz="700" dirty="0">
                <a:solidFill>
                  <a:srgbClr val="3D505A"/>
                </a:solidFill>
                <a:latin typeface="Arial"/>
              </a:rPr>
              <a:t> </a:t>
            </a:r>
            <a:r>
              <a:rPr lang="en-US" sz="700" dirty="0">
                <a:solidFill>
                  <a:srgbClr val="3D505A"/>
                </a:solidFill>
                <a:latin typeface="+mj-lt"/>
                <a:ea typeface="Tahoma"/>
                <a:cs typeface="Tahoma"/>
              </a:rPr>
              <a:t>KS Economic Research, “Platform Quality, Network Effects, and the Growth of Social Networks”, 2022 </a:t>
            </a:r>
            <a:endParaRPr lang="en-US" sz="700" dirty="0">
              <a:latin typeface="+mj-lt"/>
              <a:ea typeface="Tahoma"/>
              <a:cs typeface="Tahoma"/>
            </a:endParaRPr>
          </a:p>
        </p:txBody>
      </p:sp>
      <p:pic>
        <p:nvPicPr>
          <p:cNvPr id="1028" name="Picture 4" descr="leahqueen888 | Twitter, Instagram, Facebook, TikTok | Linktree">
            <a:extLst>
              <a:ext uri="{FF2B5EF4-FFF2-40B4-BE49-F238E27FC236}">
                <a16:creationId xmlns:a16="http://schemas.microsoft.com/office/drawing/2014/main" id="{48C4008D-365A-780E-E12B-099EAFFB98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1302" y="3857987"/>
            <a:ext cx="331693" cy="331693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88219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355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However, the most engaged users </a:t>
            </a:r>
            <a:r>
              <a:rPr lang="en-US" i="1"/>
              <a:t>substituted </a:t>
            </a:r>
            <a:r>
              <a:rPr lang="en-US"/>
              <a:t>their engagement during the shoc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20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FD88397-31DF-4E40-394B-59288156035F}"/>
              </a:ext>
            </a:extLst>
          </p:cNvPr>
          <p:cNvSpPr/>
          <p:nvPr/>
        </p:nvSpPr>
        <p:spPr bwMode="auto">
          <a:xfrm>
            <a:off x="4800599" y="3313976"/>
            <a:ext cx="688283" cy="134595"/>
          </a:xfrm>
          <a:prstGeom prst="rect">
            <a:avLst/>
          </a:prstGeom>
          <a:noFill/>
          <a:ln w="12700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7" name="Speech Bubble: Rectangle with Corners Rounded 26">
            <a:extLst>
              <a:ext uri="{FF2B5EF4-FFF2-40B4-BE49-F238E27FC236}">
                <a16:creationId xmlns:a16="http://schemas.microsoft.com/office/drawing/2014/main" id="{28F48D54-8623-BA91-381F-60EEECA05746}"/>
              </a:ext>
            </a:extLst>
          </p:cNvPr>
          <p:cNvSpPr/>
          <p:nvPr/>
        </p:nvSpPr>
        <p:spPr bwMode="auto">
          <a:xfrm>
            <a:off x="5722619" y="2786017"/>
            <a:ext cx="2138289" cy="662554"/>
          </a:xfrm>
          <a:prstGeom prst="wedgeRoundRectCallout">
            <a:avLst>
              <a:gd name="adj1" fmla="val -64062"/>
              <a:gd name="adj2" fmla="val 35165"/>
              <a:gd name="adj3" fmla="val 16667"/>
            </a:avLst>
          </a:prstGeom>
          <a:solidFill>
            <a:schemeClr val="bg1">
              <a:lumMod val="95000"/>
            </a:schemeClr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Substitution of engagement for the most engaged users pre-shock</a:t>
            </a:r>
          </a:p>
        </p:txBody>
      </p:sp>
    </p:spTree>
    <p:extLst>
      <p:ext uri="{BB962C8B-B14F-4D97-AF65-F5344CB8AC3E}">
        <p14:creationId xmlns:p14="http://schemas.microsoft.com/office/powerpoint/2010/main" val="1144546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8278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dditionally, post-shock engagement is highly dependent on pre-shock levels of engagement…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FD88397-31DF-4E40-394B-59288156035F}"/>
              </a:ext>
            </a:extLst>
          </p:cNvPr>
          <p:cNvSpPr/>
          <p:nvPr/>
        </p:nvSpPr>
        <p:spPr bwMode="auto">
          <a:xfrm>
            <a:off x="2752725" y="3432516"/>
            <a:ext cx="2047876" cy="134595"/>
          </a:xfrm>
          <a:prstGeom prst="rect">
            <a:avLst/>
          </a:prstGeom>
          <a:noFill/>
          <a:ln w="12700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" name="Speech Bubble: Rectangle with Corners Rounded 13">
            <a:extLst>
              <a:ext uri="{FF2B5EF4-FFF2-40B4-BE49-F238E27FC236}">
                <a16:creationId xmlns:a16="http://schemas.microsoft.com/office/drawing/2014/main" id="{871706BE-78E9-6422-188D-0941B510F47E}"/>
              </a:ext>
            </a:extLst>
          </p:cNvPr>
          <p:cNvSpPr/>
          <p:nvPr/>
        </p:nvSpPr>
        <p:spPr bwMode="auto">
          <a:xfrm>
            <a:off x="5683250" y="3567111"/>
            <a:ext cx="1771650" cy="801689"/>
          </a:xfrm>
          <a:prstGeom prst="wedgeRoundRectCallout">
            <a:avLst>
              <a:gd name="adj1" fmla="val -105780"/>
              <a:gd name="adj2" fmla="val -54134"/>
              <a:gd name="adj3" fmla="val 16667"/>
            </a:avLst>
          </a:prstGeom>
          <a:solidFill>
            <a:schemeClr val="bg1">
              <a:lumMod val="95000"/>
            </a:schemeClr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Less engaged users increased their engagement significantly post-shock…</a:t>
            </a:r>
          </a:p>
        </p:txBody>
      </p:sp>
    </p:spTree>
    <p:extLst>
      <p:ext uri="{BB962C8B-B14F-4D97-AF65-F5344CB8AC3E}">
        <p14:creationId xmlns:p14="http://schemas.microsoft.com/office/powerpoint/2010/main" val="42946709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7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…with the most engaged users substituting their engage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22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FD88397-31DF-4E40-394B-59288156035F}"/>
              </a:ext>
            </a:extLst>
          </p:cNvPr>
          <p:cNvSpPr/>
          <p:nvPr/>
        </p:nvSpPr>
        <p:spPr bwMode="auto">
          <a:xfrm>
            <a:off x="4807513" y="3432516"/>
            <a:ext cx="687868" cy="134595"/>
          </a:xfrm>
          <a:prstGeom prst="rect">
            <a:avLst/>
          </a:prstGeom>
          <a:noFill/>
          <a:ln w="12700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" name="Speech Bubble: Rectangle with Corners Rounded 13">
            <a:extLst>
              <a:ext uri="{FF2B5EF4-FFF2-40B4-BE49-F238E27FC236}">
                <a16:creationId xmlns:a16="http://schemas.microsoft.com/office/drawing/2014/main" id="{871706BE-78E9-6422-188D-0941B510F47E}"/>
              </a:ext>
            </a:extLst>
          </p:cNvPr>
          <p:cNvSpPr/>
          <p:nvPr/>
        </p:nvSpPr>
        <p:spPr bwMode="auto">
          <a:xfrm>
            <a:off x="5683250" y="3567111"/>
            <a:ext cx="1771650" cy="801689"/>
          </a:xfrm>
          <a:prstGeom prst="wedgeRoundRectCallout">
            <a:avLst>
              <a:gd name="adj1" fmla="val -70854"/>
              <a:gd name="adj2" fmla="val -53276"/>
              <a:gd name="adj3" fmla="val 16667"/>
            </a:avLst>
          </a:prstGeom>
          <a:solidFill>
            <a:schemeClr val="bg1">
              <a:lumMod val="95000"/>
            </a:schemeClr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…while the most engaged users actually decreased their engagement post shock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5996552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6FB4FBDA-F013-7C26-0A70-473C8C9982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6361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305" imgH="312" progId="TCLayout.ActiveDocument.1">
                  <p:embed/>
                </p:oleObj>
              </mc:Choice>
              <mc:Fallback>
                <p:oleObj name="think-cell Slide" r:id="rId39" imgW="305" imgH="312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6FB4FBDA-F013-7C26-0A70-473C8C99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DF85372-5132-CFC9-6C96-85E6E92526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5" y="118873"/>
            <a:ext cx="8228013" cy="619316"/>
          </a:xfrm>
        </p:spPr>
        <p:txBody>
          <a:bodyPr vert="horz"/>
          <a:lstStyle/>
          <a:p>
            <a:r>
              <a:rPr lang="en-US" dirty="0"/>
              <a:t>The GameStop short-squeeze was attributed to WSB users which triggered increased outsider attention for WSB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ACBD76-6208-95B9-E291-45310FA29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6C957BD-C326-9DB6-F41A-F1A3662F5B33}"/>
              </a:ext>
            </a:extLst>
          </p:cNvPr>
          <p:cNvSpPr/>
          <p:nvPr/>
        </p:nvSpPr>
        <p:spPr bwMode="auto">
          <a:xfrm>
            <a:off x="469904" y="3810001"/>
            <a:ext cx="8216895" cy="676694"/>
          </a:xfrm>
          <a:prstGeom prst="rect">
            <a:avLst/>
          </a:prstGeom>
          <a:solidFill>
            <a:schemeClr val="accent4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000" b="1" dirty="0">
                <a:solidFill>
                  <a:schemeClr val="bg1"/>
                </a:solidFill>
                <a:ea typeface="Tahoma"/>
                <a:cs typeface="Tahoma"/>
              </a:rPr>
              <a:t>Leverage the r/WSB trigger event to evaluate engagement changes across subreddits (spillover effects): </a:t>
            </a:r>
          </a:p>
          <a:p>
            <a:pPr rtl="0">
              <a:spcBef>
                <a:spcPts val="600"/>
              </a:spcBef>
            </a:pPr>
            <a:r>
              <a:rPr lang="en-US" sz="1000" b="1" dirty="0">
                <a:solidFill>
                  <a:schemeClr val="bg1"/>
                </a:solidFill>
                <a:ea typeface="Tahoma"/>
                <a:cs typeface="Tahoma"/>
              </a:rPr>
              <a:t>1. What do trigger events/attention shocks tell us about substitution and complementarity in social engagement?</a:t>
            </a:r>
          </a:p>
          <a:p>
            <a:pPr rtl="0">
              <a:spcBef>
                <a:spcPts val="600"/>
              </a:spcBef>
            </a:pPr>
            <a:r>
              <a:rPr lang="en-US" sz="1000" b="1" dirty="0">
                <a:solidFill>
                  <a:schemeClr val="bg1"/>
                </a:solidFill>
                <a:ea typeface="Tahoma"/>
                <a:cs typeface="Tahoma"/>
              </a:rPr>
              <a:t>2. Can a trigger event to a subreddit drive adoption and retention of news users?</a:t>
            </a:r>
          </a:p>
        </p:txBody>
      </p:sp>
      <p:graphicFrame>
        <p:nvGraphicFramePr>
          <p:cNvPr id="2126" name="Chart 2125">
            <a:extLst>
              <a:ext uri="{FF2B5EF4-FFF2-40B4-BE49-F238E27FC236}">
                <a16:creationId xmlns:a16="http://schemas.microsoft.com/office/drawing/2014/main" id="{92A64431-E3EC-C9E4-3DFB-46624EF32A0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54282"/>
              </p:ext>
            </p:extLst>
          </p:nvPr>
        </p:nvGraphicFramePr>
        <p:xfrm>
          <a:off x="5053013" y="1144588"/>
          <a:ext cx="3727450" cy="2414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3DFA4CE3-8ECC-4B85-CF46-DC1747312C2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941888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82ED474-B265-4251-8171-1ADF622153C4}" type="datetime'''''''''''''''Ju''''''l'' ''''''''2''''''020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8526AFC4-215C-54D9-BAF9-E6681B89D9A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645150" y="3509963"/>
            <a:ext cx="4159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9C49D74-7F07-439A-A2C6-FDB5C8F1BC72}" type="datetime'''O''ct'''''''' ''''2''''0''''''''20''''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0</a:t>
            </a:fld>
            <a:endParaRPr lang="en-US" sz="80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F4C31B50-D0AB-4938-07B4-4506CA7030A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357938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9C6E373-6E05-49FF-A8DD-D5B917269008}" type="datetime'J''''''''a''n'' 2''''0''''''''''''''''21''''''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2B552BF4-E3C4-E762-C284-AD4D3756597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062788" y="3509963"/>
            <a:ext cx="4159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58A54C1-BD8A-472B-A9C0-1EA64A1051C9}" type="datetime'''''''''''''Ap''''r'''' ''''''''''''2''0''''2''''''''''''''1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 2021</a:t>
            </a:fld>
            <a:endParaRPr lang="en-US" sz="800"/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C7C4FBDD-4E89-B729-EBE6-9FF5FD23945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786688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94A23DF-F719-4D39-A62F-68FE2A2736F1}" type="datetime'''''''''''J''ul'''''''' 2''''''0''21''''''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 dirty="0"/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17F95801-32E7-E344-DE8D-B5805B67158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489950" y="3509963"/>
            <a:ext cx="4159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B735399-2421-4C94-B72E-F12791F47B0D}" type="datetime'O''''''ct ''''''''''''''''''''''''''2''''0''2''''''''''1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1</a:t>
            </a:fld>
            <a:endParaRPr lang="en-US" sz="800"/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E70C353-902E-3BD1-9700-47F5A8CBEF5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921250" y="3416300"/>
            <a:ext cx="1476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FBF214E-B669-456C-86F4-799A9EBCF949}" type="datetime'''''''''''''''''''''''''''''''0''''''''''''''%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800"/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80A8B38E-0A02-0403-1DF1-A1F7CAC6DE9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864100" y="2967038"/>
            <a:ext cx="2047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252A6CE-3B5E-4487-8CC6-64DDB32B7990}" type="datetime'''2''0''''''''''''''''''''''''''''''%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800"/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03C5E990-624E-080B-A552-F694B95285B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64100" y="2516188"/>
            <a:ext cx="2047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293BA0D-6649-4E9A-A60E-7C2A45B68A69}" type="datetime'''''''''''''''''4''''''''''''''''''''0''''''%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%</a:t>
            </a:fld>
            <a:endParaRPr lang="en-US" sz="80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F949E81F-9B8B-58A7-982A-2A244D2FAAE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64100" y="2066925"/>
            <a:ext cx="2047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8EF9BF1-66BE-47AE-BACD-250F27C02CDD}" type="datetime'6''''''''0''''''''''''''''''''''''''''''''%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%</a:t>
            </a:fld>
            <a:endParaRPr lang="en-US" sz="800"/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6243670B-98BF-E519-418D-A5D8F38EA8C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64100" y="1616075"/>
            <a:ext cx="2047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CC85222-1E66-4132-9B41-32406F121764}" type="datetime'''''''''''''''''''''''''''''''''''8''0''''%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%</a:t>
            </a:fld>
            <a:endParaRPr lang="en-US" sz="800"/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03A2859C-E9B6-963A-03C9-A84DCBEC0C0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6950" y="1166813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D20BCD7-150B-4A28-92CE-9D2278BFF316}" type="datetime'''''''''''''1''''''''0''''0''''''''''''''''''%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800"/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6E58A27E-80C9-89F5-A73C-F730A1D85B95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5284788" y="1325563"/>
            <a:ext cx="123825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4FDD9EEE-59EF-18C3-45D1-95862A44DD3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5289550" y="1498600"/>
            <a:ext cx="114300" cy="0"/>
          </a:xfrm>
          <a:prstGeom prst="line">
            <a:avLst/>
          </a:prstGeom>
          <a:ln w="2857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6B8ADAB9-FB2A-C9DE-3723-5A3448C0E09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468938" y="1268413"/>
            <a:ext cx="2143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E0377EA-E0D3-453E-B6DA-946D1D296E4F}" type="datetime'''''''''''''''''''''''''W''S''''''''''J''''''''''''''''''''''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WSJ</a:t>
            </a:fld>
            <a:endParaRPr lang="en-US" sz="800"/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1C22A511-6EEB-A391-A2D8-F7B83664FAB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468938" y="1441450"/>
            <a:ext cx="685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DC98A31-13C7-44A0-AB89-2659716F74F2}" type="datetime'''''''r/''w''''''''''al''l''st''''''''reet''''be''ts''''''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/wallstreetbets</a:t>
            </a:fld>
            <a:endParaRPr lang="en-US" sz="800"/>
          </a:p>
        </p:txBody>
      </p:sp>
      <p:pic>
        <p:nvPicPr>
          <p:cNvPr id="178" name="Picture 177">
            <a:extLst>
              <a:ext uri="{FF2B5EF4-FFF2-40B4-BE49-F238E27FC236}">
                <a16:creationId xmlns:a16="http://schemas.microsoft.com/office/drawing/2014/main" id="{ED549B53-7846-C3DB-CBF8-9C127D613AB3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6812597" y="1286373"/>
            <a:ext cx="779633" cy="251915"/>
          </a:xfrm>
          <a:prstGeom prst="rect">
            <a:avLst/>
          </a:prstGeom>
        </p:spPr>
      </p:pic>
      <p:pic>
        <p:nvPicPr>
          <p:cNvPr id="2050" name="Picture 2" descr="The Wall Street Journal">
            <a:extLst>
              <a:ext uri="{FF2B5EF4-FFF2-40B4-BE49-F238E27FC236}">
                <a16:creationId xmlns:a16="http://schemas.microsoft.com/office/drawing/2014/main" id="{07054790-F83B-82E9-DC8E-A528D7122F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2627" y="3030049"/>
            <a:ext cx="339054" cy="191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105" name="Chart 2104">
            <a:extLst>
              <a:ext uri="{FF2B5EF4-FFF2-40B4-BE49-F238E27FC236}">
                <a16:creationId xmlns:a16="http://schemas.microsoft.com/office/drawing/2014/main" id="{E68176AE-8A79-BDA4-315E-8B582A6D4115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7305280"/>
              </p:ext>
            </p:extLst>
          </p:nvPr>
        </p:nvGraphicFramePr>
        <p:xfrm>
          <a:off x="606425" y="1144588"/>
          <a:ext cx="3802063" cy="2414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98052A08-49EA-6567-32B4-154001BBB5C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77838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05006F-647F-4A24-87D0-957009C1EB66}" type="datetime'''''''Ja''n'''' ''''2''''''02''''''''''''''0''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48" name="Text Placeholder 2">
            <a:extLst>
              <a:ext uri="{FF2B5EF4-FFF2-40B4-BE49-F238E27FC236}">
                <a16:creationId xmlns:a16="http://schemas.microsoft.com/office/drawing/2014/main" id="{F4BA7A34-04C4-3B4A-D657-A3BE4A251BC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98549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56BF2A-C2C5-4CCE-9D85-921BB52DA35A}" type="datetime'J''''''''''''u''''''''l'' ''''2''''''''0''''''''''''20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ED9C83E5-9E5B-5710-423B-A09D629B21E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692275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E69F72-610F-4EAA-94B5-D2228A9AB4B5}" type="datetime'''J''an'''' ''''''''''''''''''''''20''''''''''''''21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306B4538-646E-8579-3CBF-9BD719086FB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309812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18335-BA92-4B3F-B0EE-5B4B8B383E56}" type="datetime'''''''''''''Ju''''''''''''l'''' ''''''''''2''02''''''1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49" name="Text Placeholder 2">
            <a:extLst>
              <a:ext uri="{FF2B5EF4-FFF2-40B4-BE49-F238E27FC236}">
                <a16:creationId xmlns:a16="http://schemas.microsoft.com/office/drawing/2014/main" id="{83756C4E-BEF0-2F83-C0A5-376FBAEAA5A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903538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DD8A7E-0242-4814-A352-5F993F2E456E}" type="datetime'Jan'''''''''''' ''''2''''''''''''''''''0''''''2''2''''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2</a:t>
            </a:fld>
            <a:endParaRPr lang="en-US" sz="800" dirty="0">
              <a:solidFill>
                <a:srgbClr val="3D505A"/>
              </a:solidFill>
            </a:endParaRPr>
          </a:p>
        </p:txBody>
      </p:sp>
      <p:sp>
        <p:nvSpPr>
          <p:cNvPr id="2051" name="Text Placeholder 2">
            <a:extLst>
              <a:ext uri="{FF2B5EF4-FFF2-40B4-BE49-F238E27FC236}">
                <a16:creationId xmlns:a16="http://schemas.microsoft.com/office/drawing/2014/main" id="{77AA8A51-413D-46FE-18FD-9DDE91FEFC0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521074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C6270F-1412-4DA9-95DA-DE793C166679}" type="datetime'''''Ju''l'''''''''''' ''20''''''''''2''''2''''''''''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2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52" name="Text Placeholder 2">
            <a:extLst>
              <a:ext uri="{FF2B5EF4-FFF2-40B4-BE49-F238E27FC236}">
                <a16:creationId xmlns:a16="http://schemas.microsoft.com/office/drawing/2014/main" id="{4ADA9BCF-D5D0-3255-9CB2-F61BA1E7F73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114800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407822-4185-4039-BC88-8689D50733EA}" type="datetime'''Ja''n'''''''''' ''''''''''''''2''''''0''2''''3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3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53" name="Text Placeholder 2">
            <a:extLst>
              <a:ext uri="{FF2B5EF4-FFF2-40B4-BE49-F238E27FC236}">
                <a16:creationId xmlns:a16="http://schemas.microsoft.com/office/drawing/2014/main" id="{BC2FBFFC-7DE3-9F01-0B3C-8C58F38531E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08000" y="3416300"/>
            <a:ext cx="114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EE043B7-43DD-4294-AED8-2DD72A63C564}" type="datetime'''$''0''''''''''''''''''''''''''''''''''''''''''''''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1" name="Text Placeholder 2">
            <a:extLst>
              <a:ext uri="{FF2B5EF4-FFF2-40B4-BE49-F238E27FC236}">
                <a16:creationId xmlns:a16="http://schemas.microsoft.com/office/drawing/2014/main" id="{63C06676-7046-6536-E38C-60291D559DE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50850" y="3167063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041C41D-4F57-4A17-A467-A8498E58D7EF}" type="datetime'''$''''''''''''''''''''''''''''''''''''1''''0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10</a:t>
            </a:fld>
            <a:endParaRPr lang="en-US" sz="800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3E0F48FE-F2E9-4048-BE0E-2D758DEEE8C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50850" y="2916238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104E1AE-BE95-44C3-8E2E-E2106717C356}" type="datetime'''''''''''''''''''''$''''''''''''''''''2''''0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2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2" name="Text Placeholder 2">
            <a:extLst>
              <a:ext uri="{FF2B5EF4-FFF2-40B4-BE49-F238E27FC236}">
                <a16:creationId xmlns:a16="http://schemas.microsoft.com/office/drawing/2014/main" id="{F5C4D996-F3D3-3EA4-074A-64EA9D90ECA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50850" y="2667000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D89C955-8677-4CB1-AF13-316925FF47B5}" type="datetime'''''''''''''''''$''3''''''''''0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30</a:t>
            </a:fld>
            <a:endParaRPr lang="en-US" sz="800"/>
          </a:p>
        </p:txBody>
      </p:sp>
      <p:sp>
        <p:nvSpPr>
          <p:cNvPr id="2054" name="Text Placeholder 2">
            <a:extLst>
              <a:ext uri="{FF2B5EF4-FFF2-40B4-BE49-F238E27FC236}">
                <a16:creationId xmlns:a16="http://schemas.microsoft.com/office/drawing/2014/main" id="{898089F3-C773-30F6-2556-7A6CF12BBA1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50850" y="2416175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25AF968-7C17-469B-8083-B454321DE057}" type="datetime'''''''$''''4''''''''''0''''''''''''''''''''''''''''''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4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3" name="Text Placeholder 2">
            <a:extLst>
              <a:ext uri="{FF2B5EF4-FFF2-40B4-BE49-F238E27FC236}">
                <a16:creationId xmlns:a16="http://schemas.microsoft.com/office/drawing/2014/main" id="{93C6B3D3-A902-7692-8C2C-36FD50B93B3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50850" y="2166938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3C9601D-F389-499C-9C07-E35B49DB27C3}" type="datetime'''''''''''$''''''''''''''''''''''''''5''''''''''0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50</a:t>
            </a:fld>
            <a:endParaRPr lang="en-US" sz="800"/>
          </a:p>
        </p:txBody>
      </p:sp>
      <p:sp>
        <p:nvSpPr>
          <p:cNvPr id="2055" name="Text Placeholder 2">
            <a:extLst>
              <a:ext uri="{FF2B5EF4-FFF2-40B4-BE49-F238E27FC236}">
                <a16:creationId xmlns:a16="http://schemas.microsoft.com/office/drawing/2014/main" id="{016988D7-1227-A45C-A7A8-F33F109D290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50850" y="1916113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3292F29-DEA8-4F45-87E7-1F5C6CCD88ED}" type="datetime'''''''''''''''''''''''''''''''$''''''6''''''''''''0''''''''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6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4" name="Text Placeholder 2">
            <a:extLst>
              <a:ext uri="{FF2B5EF4-FFF2-40B4-BE49-F238E27FC236}">
                <a16:creationId xmlns:a16="http://schemas.microsoft.com/office/drawing/2014/main" id="{FE2A34B9-08ED-DD3A-02CF-D15B6DBB913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50850" y="1666875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4DFC51D-1192-4760-A461-9F80A527C9ED}" type="datetime'''''''''$''''''''''''''''''7''''''''''''''''''0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70</a:t>
            </a:fld>
            <a:endParaRPr lang="en-US" sz="800"/>
          </a:p>
        </p:txBody>
      </p:sp>
      <p:sp>
        <p:nvSpPr>
          <p:cNvPr id="2056" name="Text Placeholder 2">
            <a:extLst>
              <a:ext uri="{FF2B5EF4-FFF2-40B4-BE49-F238E27FC236}">
                <a16:creationId xmlns:a16="http://schemas.microsoft.com/office/drawing/2014/main" id="{98DB19F3-78EF-10C0-1E27-3513829EFA3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50850" y="1416050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39FC178-D263-4872-977A-385C39930201}" type="datetime'''''''''$8''''''0''''''''''''''''''''''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8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5" name="Text Placeholder 2">
            <a:extLst>
              <a:ext uri="{FF2B5EF4-FFF2-40B4-BE49-F238E27FC236}">
                <a16:creationId xmlns:a16="http://schemas.microsoft.com/office/drawing/2014/main" id="{D7B20BB2-CEF7-7298-83D5-062D7F0E43A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50850" y="1166813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95231B8-869E-4067-B0BE-0CE27EB0A9D8}" type="datetime'''''''''''''''''''''''''''''''$''''9''''''''''''''''0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90</a:t>
            </a:fld>
            <a:endParaRPr lang="en-US" sz="800"/>
          </a:p>
        </p:txBody>
      </p:sp>
      <p:pic>
        <p:nvPicPr>
          <p:cNvPr id="2058" name="Picture 4" descr="GameStop Logo and symbol, meaning, history, PNG">
            <a:extLst>
              <a:ext uri="{FF2B5EF4-FFF2-40B4-BE49-F238E27FC236}">
                <a16:creationId xmlns:a16="http://schemas.microsoft.com/office/drawing/2014/main" id="{788BD655-490E-C1A8-8B2B-C69201E525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98" b="29858"/>
          <a:stretch/>
        </p:blipFill>
        <p:spPr bwMode="auto">
          <a:xfrm>
            <a:off x="2567158" y="1658938"/>
            <a:ext cx="783884" cy="173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6">
            <a:extLst>
              <a:ext uri="{FF2B5EF4-FFF2-40B4-BE49-F238E27FC236}">
                <a16:creationId xmlns:a16="http://schemas.microsoft.com/office/drawing/2014/main" id="{BDD2592A-C9A7-9753-D3ED-57D3B637E0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397" y="2913506"/>
            <a:ext cx="587827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60" name="Straight Connector 2059">
            <a:extLst>
              <a:ext uri="{FF2B5EF4-FFF2-40B4-BE49-F238E27FC236}">
                <a16:creationId xmlns:a16="http://schemas.microsoft.com/office/drawing/2014/main" id="{822DD863-8B07-1763-C610-A89B1E05E225}"/>
              </a:ext>
            </a:extLst>
          </p:cNvPr>
          <p:cNvCxnSpPr/>
          <p:nvPr/>
        </p:nvCxnSpPr>
        <p:spPr>
          <a:xfrm flipH="1">
            <a:off x="885884" y="3159568"/>
            <a:ext cx="59635" cy="134938"/>
          </a:xfrm>
          <a:prstGeom prst="line">
            <a:avLst/>
          </a:prstGeom>
          <a:ln w="12700" cmpd="sng">
            <a:solidFill>
              <a:srgbClr val="CE0E2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03" name="Rectangle 2102">
            <a:extLst>
              <a:ext uri="{FF2B5EF4-FFF2-40B4-BE49-F238E27FC236}">
                <a16:creationId xmlns:a16="http://schemas.microsoft.com/office/drawing/2014/main" id="{B9B4FA89-E399-26B0-B160-A72097F766C5}"/>
              </a:ext>
            </a:extLst>
          </p:cNvPr>
          <p:cNvSpPr/>
          <p:nvPr/>
        </p:nvSpPr>
        <p:spPr bwMode="auto">
          <a:xfrm>
            <a:off x="688975" y="857419"/>
            <a:ext cx="3654425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Unprecedented growth of meme stocks in Jan. 2021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tock price of GME and AMC from 2020 to 2022</a:t>
            </a:r>
          </a:p>
        </p:txBody>
      </p:sp>
      <p:sp>
        <p:nvSpPr>
          <p:cNvPr id="2115" name="Rectangle 2114">
            <a:extLst>
              <a:ext uri="{FF2B5EF4-FFF2-40B4-BE49-F238E27FC236}">
                <a16:creationId xmlns:a16="http://schemas.microsoft.com/office/drawing/2014/main" id="{BE754983-B653-D998-0541-0C57C310B627}"/>
              </a:ext>
            </a:extLst>
          </p:cNvPr>
          <p:cNvSpPr/>
          <p:nvPr/>
        </p:nvSpPr>
        <p:spPr bwMode="auto">
          <a:xfrm>
            <a:off x="5124469" y="857419"/>
            <a:ext cx="3568681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Google Trends interest over time for r/WSB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Massive spike starting the week of January 25, 2021</a:t>
            </a:r>
          </a:p>
        </p:txBody>
      </p:sp>
      <p:sp>
        <p:nvSpPr>
          <p:cNvPr id="2129" name="Rectangle 2128">
            <a:extLst>
              <a:ext uri="{FF2B5EF4-FFF2-40B4-BE49-F238E27FC236}">
                <a16:creationId xmlns:a16="http://schemas.microsoft.com/office/drawing/2014/main" id="{E1CD43E9-1275-398E-03F7-CDB24428CF3F}"/>
              </a:ext>
            </a:extLst>
          </p:cNvPr>
          <p:cNvSpPr/>
          <p:nvPr/>
        </p:nvSpPr>
        <p:spPr bwMode="auto">
          <a:xfrm rot="16200000">
            <a:off x="-138532" y="2264403"/>
            <a:ext cx="818402" cy="17145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Stock price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2130" name="Rectangle 2129">
            <a:extLst>
              <a:ext uri="{FF2B5EF4-FFF2-40B4-BE49-F238E27FC236}">
                <a16:creationId xmlns:a16="http://schemas.microsoft.com/office/drawing/2014/main" id="{DC845951-0390-0233-CA12-4E48615A2DCB}"/>
              </a:ext>
            </a:extLst>
          </p:cNvPr>
          <p:cNvSpPr/>
          <p:nvPr/>
        </p:nvSpPr>
        <p:spPr bwMode="auto">
          <a:xfrm rot="16200000">
            <a:off x="3718252" y="2264403"/>
            <a:ext cx="1929748" cy="17145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Google Trends interest over time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pic>
        <p:nvPicPr>
          <p:cNvPr id="2134" name="Picture 2133">
            <a:extLst>
              <a:ext uri="{FF2B5EF4-FFF2-40B4-BE49-F238E27FC236}">
                <a16:creationId xmlns:a16="http://schemas.microsoft.com/office/drawing/2014/main" id="{177B0556-6030-EFA5-F642-784563685F24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7005269" y="1783778"/>
            <a:ext cx="1875268" cy="50914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36" name="Picture 2135">
            <a:extLst>
              <a:ext uri="{FF2B5EF4-FFF2-40B4-BE49-F238E27FC236}">
                <a16:creationId xmlns:a16="http://schemas.microsoft.com/office/drawing/2014/main" id="{3A77E9D4-D3BC-72D1-9AE6-1688246F8C35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7442262" y="2181639"/>
            <a:ext cx="1574739" cy="96151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676888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FFE56A1-48A6-06EE-933B-F6B9E09FFD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525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606" imgH="608" progId="TCLayout.ActiveDocument.1">
                  <p:embed/>
                </p:oleObj>
              </mc:Choice>
              <mc:Fallback>
                <p:oleObj name="think-cell Slide" r:id="rId52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FE56A1-48A6-06EE-933B-F6B9E09FFD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: Rounded Corners 149">
            <a:extLst>
              <a:ext uri="{FF2B5EF4-FFF2-40B4-BE49-F238E27FC236}">
                <a16:creationId xmlns:a16="http://schemas.microsoft.com/office/drawing/2014/main" id="{F23A8975-C3F9-9E56-6711-51C413ADE30B}"/>
              </a:ext>
            </a:extLst>
          </p:cNvPr>
          <p:cNvSpPr/>
          <p:nvPr/>
        </p:nvSpPr>
        <p:spPr bwMode="auto">
          <a:xfrm>
            <a:off x="2611018" y="1304772"/>
            <a:ext cx="346285" cy="3312272"/>
          </a:xfrm>
          <a:prstGeom prst="roundRect">
            <a:avLst>
              <a:gd name="adj" fmla="val 11050"/>
            </a:avLst>
          </a:prstGeom>
          <a:solidFill>
            <a:schemeClr val="bg1">
              <a:lumMod val="95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7" name="Rectangle: Rounded Corners 146">
            <a:extLst>
              <a:ext uri="{FF2B5EF4-FFF2-40B4-BE49-F238E27FC236}">
                <a16:creationId xmlns:a16="http://schemas.microsoft.com/office/drawing/2014/main" id="{36459C6E-2A70-3F1C-B64E-9395ABD35ED3}"/>
              </a:ext>
            </a:extLst>
          </p:cNvPr>
          <p:cNvSpPr/>
          <p:nvPr/>
        </p:nvSpPr>
        <p:spPr bwMode="auto">
          <a:xfrm>
            <a:off x="881065" y="1304772"/>
            <a:ext cx="1367255" cy="3312272"/>
          </a:xfrm>
          <a:prstGeom prst="roundRect">
            <a:avLst>
              <a:gd name="adj" fmla="val 3486"/>
            </a:avLst>
          </a:prstGeom>
          <a:solidFill>
            <a:schemeClr val="bg1">
              <a:lumMod val="95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72CAB5-EF35-A110-4712-3E0C221D7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meme stock mania drove unprecedented engagement on Reddi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030F42-6FC9-8CA7-A2FA-122F078D6A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4</a:t>
            </a:fld>
            <a:endParaRPr lang="en-US"/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D2345F11-2310-CDD5-60CA-1C627F65A4A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7218962"/>
              </p:ext>
            </p:extLst>
          </p:nvPr>
        </p:nvGraphicFramePr>
        <p:xfrm>
          <a:off x="774700" y="1228725"/>
          <a:ext cx="3660775" cy="2774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5ED4800A-D81D-235D-3666-C58755C6246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63563" y="3860800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AAF8020-D37A-4D81-8E78-91B6B22D99DD}" type="datetime'''''''''''''0''''''''''''.''''''''''''''''''''''0M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M</a:t>
            </a:fld>
            <a:endParaRPr lang="en-US" sz="800"/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6360899F-7C7A-8C2E-AEEF-D151DBF5FA7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63563" y="3425825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2200B55-7780-4451-AC5A-73338D6B9776}" type="datetime'''''''''''''''0''''''''''''''''.''3''''''''''''''''''''M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M</a:t>
            </a:fld>
            <a:endParaRPr lang="en-US" sz="80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51D77DDD-09E7-5125-D8FC-AA3826BFC27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63563" y="2990850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050DE73-6CFB-4BDF-9660-0201A1FC3CE5}" type="datetime'0''''''''''.''''''''''''''''6''''M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M</a:t>
            </a:fld>
            <a:endParaRPr lang="en-US" sz="800"/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1B5678-989C-BB5F-CA19-AE1CD4DB809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63563" y="2555875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66673F1-4920-4DF4-8075-39214F7C46DC}" type="datetime'''''''''''''0''''''.''''''''''''''9M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9M</a:t>
            </a:fld>
            <a:endParaRPr lang="en-US" sz="800"/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D02B0274-799D-E3DB-7A48-4C4F1FDEB79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63563" y="2120900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A08721A-8125-42AE-850B-7BD826FA965B}" type="datetime'1''''''''''''''''.''''''''''''''''''''''''''2''''''M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M</a:t>
            </a:fld>
            <a:endParaRPr lang="en-US" sz="800"/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C9C3A4AD-310F-6281-D0CF-3850CC72207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63563" y="1685925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037C37F-4342-429E-901E-9863723EC4C1}" type="datetime'''1''''''''''''.''''''5''''''''''''''''''''''''''''M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M</a:t>
            </a:fld>
            <a:endParaRPr lang="en-US" sz="800"/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A574DDB0-5850-E3AD-82D6-95B643F76B2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63563" y="1250950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7BFCF21-62F4-4BB2-9F5C-1D91F1E2B007}" type="datetime'''1''''''''.''''''''''''''''8''''''''''''M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M</a:t>
            </a:fld>
            <a:endParaRPr lang="en-US" sz="800"/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1B4DB6EC-21B9-6D12-E209-99B9CC0E1AB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942975" y="26860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>
                <a:solidFill>
                  <a:schemeClr val="bg1"/>
                </a:solidFill>
                <a:effectLst/>
              </a:rPr>
              <a:t>#1</a:t>
            </a:r>
            <a:endParaRPr lang="en-US" sz="1000" b="1">
              <a:solidFill>
                <a:schemeClr val="bg1"/>
              </a:solidFill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FED4712-F49D-9D85-8CA7-BC73A4142BC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69963" y="3954463"/>
            <a:ext cx="122238" cy="62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8486E18-8B71-4AAE-99B6-4BD5597A862B}" type="datetime'''''''Jan''''''''''''.'' 28,'''''''''' ''2''''''''''''0''2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. 28, 2021</a:t>
            </a:fld>
            <a:endParaRPr lang="en-US" sz="800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B0A5B8F2-245E-A63F-F9F1-82ACBED3315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292225" y="30099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</a:rPr>
              <a:t>#2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ABB2943-3A4E-0E58-00C6-A0938DBC85B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319213" y="3954463"/>
            <a:ext cx="122238" cy="62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D2099AE-8229-42EB-BAEE-CA742E213A76}" type="datetime'''Ja''''''''''''''''''''n''. 2''''''7'''''', ''2''''02''''''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. 27, 2021</a:t>
            </a:fld>
            <a:endParaRPr lang="en-US" sz="800"/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005F64C5-5E2C-C0DE-E49F-5BEB4615271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643063" y="30686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bg1"/>
                </a:solidFill>
              </a:rPr>
              <a:t>#3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5ACBE6-D04F-55D0-8E71-FE6345FDB64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670050" y="3954463"/>
            <a:ext cx="122238" cy="62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03D7673-49DB-4D41-ACA1-F7B6BDD24C14}" type="datetime'''J''a''''''n''.'''''' ''''2''9,'''''''''''''' 20''''2''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. 29, 2021</a:t>
            </a:fld>
            <a:endParaRPr lang="en-US" sz="800"/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93093083-E6A7-9958-A7C6-ACA01831605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992313" y="31972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4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D8E3718-11CF-2F83-1AF1-5507A8391E6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019300" y="3954463"/>
            <a:ext cx="122238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40F5E53-1AFD-4BAC-ADC1-A78445B9C152}" type="datetime'F''e''''''''''''''''''''b''''''.'''''' ''''1'','' 2''0''2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eb. 1, 2021</a:t>
            </a:fld>
            <a:endParaRPr lang="en-US" sz="800"/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AED63624-4674-A95E-F131-C2D8ECDB362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341563" y="32385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5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DA57BEA-EFA8-8443-5134-2B3FF021F0E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368550" y="3954463"/>
            <a:ext cx="122238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0CB1E7D-D405-41F3-9DB4-99EC239CC56E}" type="datetime'''N''''''''''o''''v''''''.'' ''''''''4,'''' 20''2''''0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v. 4, 2020</a:t>
            </a:fld>
            <a:endParaRPr lang="en-US" sz="800"/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16EEC31C-828F-A5A2-6538-5F04BACF8A0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690813" y="32416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6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A096A54-EA2E-9D87-B71A-EDC2D49ACEF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717800" y="3954463"/>
            <a:ext cx="122238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EBF9B0F-6283-46E0-B03A-3274C2C065B4}" type="datetime'''''''F''''''e''''b.'''''''''''' ''2,'''' ''''2''''0''''''2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eb. 2, 2021</a:t>
            </a:fld>
            <a:endParaRPr lang="en-US" sz="800"/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B27DA288-CB68-28E9-C6FA-BCF77446DFC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040063" y="32702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7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EED0F3DC-B23F-EE12-934B-FB4BA7A6ECB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067050" y="3954463"/>
            <a:ext cx="122238" cy="592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8C8C88A-0D87-467D-89F9-27C93A667277}" type="datetime'''M''''ay''''''.'' 2,'' ''2''02''''''''''''''''''1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. 2, 2021</a:t>
            </a:fld>
            <a:endParaRPr lang="en-US" sz="800"/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432148B6-0E23-D178-994D-16A584047CC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390900" y="32750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8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BB3452E6-B172-A7D1-9792-97D206237B4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417888" y="3954463"/>
            <a:ext cx="122238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8C635A1-57A4-4C37-B053-E79A1B31FEE8}" type="datetime'''M''a''y''''. 1''4'''''''''''', ''''20''1''''9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. 14, 2019</a:t>
            </a:fld>
            <a:endParaRPr lang="en-US" sz="800"/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37B8C698-8FBF-56B3-4B45-B010EA4EBCE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740150" y="32940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9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C82E1FE-46AE-C570-94A5-8A0C12B6C735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767138" y="3954463"/>
            <a:ext cx="122238" cy="592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EEF8982-3A08-4331-9463-218199A5D6D4}" type="datetime'''M''''''a''''y''''''. 6'''''', ''''''''''''2''''01''''9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. 6, 2019</a:t>
            </a:fld>
            <a:endParaRPr lang="en-US" sz="800"/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D0C079DE-98B6-CE99-6C59-85F26E0F149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054475" y="3305175"/>
            <a:ext cx="244475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10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C3A26BA-1DE7-FEA9-3885-BAC8A607B38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116388" y="3954463"/>
            <a:ext cx="122238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A2D472D-25AC-4DCB-A4C3-45147C6AA2D1}" type="datetime'N''ov''. ''6,'' ''''''''''2''''''''''''02''''''0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v. 6, 2020</a:t>
            </a:fld>
            <a:endParaRPr lang="en-US" sz="800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28230CF6-C1A8-528F-0B6C-F86156B95FF7}"/>
              </a:ext>
            </a:extLst>
          </p:cNvPr>
          <p:cNvSpPr/>
          <p:nvPr/>
        </p:nvSpPr>
        <p:spPr bwMode="auto">
          <a:xfrm>
            <a:off x="857693" y="843769"/>
            <a:ext cx="3485708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105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 holds the record for most engagement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Ranking of comments on a Subreddit in a single day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EC682400-4955-5524-3AC0-FE8A42EC9E52}"/>
              </a:ext>
            </a:extLst>
          </p:cNvPr>
          <p:cNvSpPr/>
          <p:nvPr/>
        </p:nvSpPr>
        <p:spPr bwMode="auto">
          <a:xfrm>
            <a:off x="919388" y="1332813"/>
            <a:ext cx="1290608" cy="280721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1000" b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F0069BCD-3ACB-B1FB-C07F-07E705E80AD4}"/>
              </a:ext>
            </a:extLst>
          </p:cNvPr>
          <p:cNvSpPr/>
          <p:nvPr/>
        </p:nvSpPr>
        <p:spPr bwMode="auto">
          <a:xfrm rot="16200000">
            <a:off x="2386547" y="1648652"/>
            <a:ext cx="805982" cy="174305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8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800" b="1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1975E968-0B2C-C806-A01E-592F30CA9BA0}"/>
              </a:ext>
            </a:extLst>
          </p:cNvPr>
          <p:cNvSpPr/>
          <p:nvPr/>
        </p:nvSpPr>
        <p:spPr bwMode="auto">
          <a:xfrm rot="16200000">
            <a:off x="2060485" y="1619940"/>
            <a:ext cx="732711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politics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ECF5D808-AFF0-0416-5C48-93D9A45779C1}"/>
              </a:ext>
            </a:extLst>
          </p:cNvPr>
          <p:cNvSpPr/>
          <p:nvPr/>
        </p:nvSpPr>
        <p:spPr bwMode="auto">
          <a:xfrm rot="16200000">
            <a:off x="2761813" y="1619940"/>
            <a:ext cx="732711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FreeKarma4U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9F5CB200-81F1-C9FB-F117-18E9263261B8}"/>
              </a:ext>
            </a:extLst>
          </p:cNvPr>
          <p:cNvSpPr/>
          <p:nvPr/>
        </p:nvSpPr>
        <p:spPr bwMode="auto">
          <a:xfrm rot="16200000">
            <a:off x="2973575" y="1762816"/>
            <a:ext cx="1018463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800" i="1" kern="1200" err="1">
                <a:solidFill>
                  <a:schemeClr val="tx1"/>
                </a:solidFill>
                <a:ea typeface="Tahoma"/>
                <a:cs typeface="Tahoma"/>
              </a:rPr>
              <a:t>WarriorsBlazers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6B4987D0-DDAD-47B9-05FA-5CE438D3DAD5}"/>
              </a:ext>
            </a:extLst>
          </p:cNvPr>
          <p:cNvSpPr/>
          <p:nvPr/>
        </p:nvSpPr>
        <p:spPr bwMode="auto">
          <a:xfrm rot="16200000">
            <a:off x="3319025" y="1762815"/>
            <a:ext cx="1018463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UFC237LiveStreams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EC977E48-DEE9-7A3E-1639-E218D70C381F}"/>
              </a:ext>
            </a:extLst>
          </p:cNvPr>
          <p:cNvSpPr/>
          <p:nvPr/>
        </p:nvSpPr>
        <p:spPr bwMode="auto">
          <a:xfrm rot="16200000">
            <a:off x="3664486" y="1762815"/>
            <a:ext cx="1018463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politics</a:t>
            </a: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AD57D3B9-DFB1-77CF-3345-828CC4DABA54}"/>
              </a:ext>
            </a:extLst>
          </p:cNvPr>
          <p:cNvSpPr/>
          <p:nvPr/>
        </p:nvSpPr>
        <p:spPr bwMode="auto">
          <a:xfrm rot="16200000">
            <a:off x="-532605" y="2428640"/>
            <a:ext cx="1658939" cy="29574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kern="1200">
                <a:solidFill>
                  <a:schemeClr val="tx1"/>
                </a:solidFill>
                <a:ea typeface="Tahoma"/>
                <a:cs typeface="Tahoma"/>
              </a:rPr>
              <a:t>Number of Subreddit comments in a single day</a:t>
            </a:r>
          </a:p>
        </p:txBody>
      </p:sp>
      <p:graphicFrame>
        <p:nvGraphicFramePr>
          <p:cNvPr id="398" name="Chart 397">
            <a:extLst>
              <a:ext uri="{FF2B5EF4-FFF2-40B4-BE49-F238E27FC236}">
                <a16:creationId xmlns:a16="http://schemas.microsoft.com/office/drawing/2014/main" id="{5C10FA02-8727-36BA-F096-970D8D6203F0}"/>
              </a:ext>
            </a:extLst>
          </p:cNvPr>
          <p:cNvGraphicFramePr/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11437582"/>
              </p:ext>
            </p:extLst>
          </p:nvPr>
        </p:nvGraphicFramePr>
        <p:xfrm>
          <a:off x="5441950" y="1222375"/>
          <a:ext cx="3338513" cy="2781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9FD79C58-8034-2788-E9BC-2FF63E5F54B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464175" y="3954463"/>
            <a:ext cx="122238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A607432-C3A7-4521-BD9B-8675EA401570}" type="datetime'''J''''''a''n 1''''0, ''''''2''''''''''''''''''''''0''2''''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10, 2021</a:t>
            </a:fld>
            <a:endParaRPr lang="en-US" sz="800"/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A5312CBC-3974-D642-699E-F1ADFEA476B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257925" y="3954463"/>
            <a:ext cx="122238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A6F9239-9FA0-4EBD-A388-E857A453B07B}" type="datetime'Jan'''''''' ''1''''''''''''''''''7'''''''''', ''''20''2''''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17, 2021</a:t>
            </a:fld>
            <a:endParaRPr lang="en-US" sz="800"/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D56C551D-F744-7B18-8E28-02CAAA47403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051675" y="3954463"/>
            <a:ext cx="122238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B64DB86-6B12-4250-84DB-10E313AB9204}" type="datetime'''''''''J''a''n'' 2''''4'','' ''''''''2''0''''2''''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24, 2021</a:t>
            </a:fld>
            <a:endParaRPr lang="en-US" sz="80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C5CB28F9-CE23-C4E8-BA05-2F95B7D27CA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843838" y="3954463"/>
            <a:ext cx="122238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7C8A06A-6E32-46DE-BE40-0B13416C52C7}" type="datetime'''J''''''''an'''' 3''1,'''' ''''2''''''''''''02''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31, 2021</a:t>
            </a:fld>
            <a:endParaRPr lang="en-US" sz="800"/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282528F4-22B0-F7D1-0A5D-DE342338CD5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8637588" y="3954463"/>
            <a:ext cx="122238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DA81641-315D-483F-B125-95256036B33E}" type="datetime'Feb'''''' ''''''''''''7'''''''''''''''''','' 2''''''''0''2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eb 7, 2021</a:t>
            </a:fld>
            <a:endParaRPr lang="en-US" sz="800"/>
          </a:p>
        </p:txBody>
      </p:sp>
      <p:sp>
        <p:nvSpPr>
          <p:cNvPr id="345" name="Text Placeholder 2">
            <a:extLst>
              <a:ext uri="{FF2B5EF4-FFF2-40B4-BE49-F238E27FC236}">
                <a16:creationId xmlns:a16="http://schemas.microsoft.com/office/drawing/2014/main" id="{66AA09EE-5EF4-EE0B-C8F5-3A6E76D3B35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332413" y="3860800"/>
            <a:ext cx="1254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E7A9390-8DF9-47BD-8B02-57BB368D23EE}" type="datetime'''''0''''''''''K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K</a:t>
            </a:fld>
            <a:endParaRPr lang="en-US" sz="800"/>
          </a:p>
        </p:txBody>
      </p:sp>
      <p:sp>
        <p:nvSpPr>
          <p:cNvPr id="346" name="Text Placeholder 2">
            <a:extLst>
              <a:ext uri="{FF2B5EF4-FFF2-40B4-BE49-F238E27FC236}">
                <a16:creationId xmlns:a16="http://schemas.microsoft.com/office/drawing/2014/main" id="{6CC52B22-326B-C841-A71F-1F1126058383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275263" y="3336925"/>
            <a:ext cx="1825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B238FCB-700B-43AE-99D2-A04564F46FBC}" type="datetime'''''''''''2''''''''''''''''''''''''''''''''5''K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K</a:t>
            </a:fld>
            <a:endParaRPr lang="en-US" sz="800"/>
          </a:p>
        </p:txBody>
      </p:sp>
      <p:sp>
        <p:nvSpPr>
          <p:cNvPr id="347" name="Text Placeholder 2">
            <a:extLst>
              <a:ext uri="{FF2B5EF4-FFF2-40B4-BE49-F238E27FC236}">
                <a16:creationId xmlns:a16="http://schemas.microsoft.com/office/drawing/2014/main" id="{665566E4-DBB3-605A-C84A-67E76E04A7D2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275263" y="2814638"/>
            <a:ext cx="1825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80EF39A-1D32-472E-973D-0CE2773CE08A}" type="datetime'5''''''''''''0''''''''''K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K</a:t>
            </a:fld>
            <a:endParaRPr lang="en-US" sz="800"/>
          </a:p>
        </p:txBody>
      </p:sp>
      <p:sp>
        <p:nvSpPr>
          <p:cNvPr id="348" name="Text Placeholder 2">
            <a:extLst>
              <a:ext uri="{FF2B5EF4-FFF2-40B4-BE49-F238E27FC236}">
                <a16:creationId xmlns:a16="http://schemas.microsoft.com/office/drawing/2014/main" id="{675A12AA-24C9-9C7D-9521-0CE07D0210F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275263" y="2290763"/>
            <a:ext cx="1825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92ED7E2-14F7-4B75-8969-0608C5BB1CBD}" type="datetime'''''''7''''''''5''''''K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5K</a:t>
            </a:fld>
            <a:endParaRPr lang="en-US" sz="800"/>
          </a:p>
        </p:txBody>
      </p:sp>
      <p:sp>
        <p:nvSpPr>
          <p:cNvPr id="349" name="Text Placeholder 2">
            <a:extLst>
              <a:ext uri="{FF2B5EF4-FFF2-40B4-BE49-F238E27FC236}">
                <a16:creationId xmlns:a16="http://schemas.microsoft.com/office/drawing/2014/main" id="{4273B293-741A-055E-7D5E-FA72FBB72479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218113" y="1768475"/>
            <a:ext cx="2397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8C2BB33-D71E-41D4-B7BE-32E176DE7670}" type="datetime'''''''''''1''''''''''''00''''''''''''''K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K</a:t>
            </a:fld>
            <a:endParaRPr lang="en-US" sz="800"/>
          </a:p>
        </p:txBody>
      </p:sp>
      <p:sp>
        <p:nvSpPr>
          <p:cNvPr id="350" name="Text Placeholder 2">
            <a:extLst>
              <a:ext uri="{FF2B5EF4-FFF2-40B4-BE49-F238E27FC236}">
                <a16:creationId xmlns:a16="http://schemas.microsoft.com/office/drawing/2014/main" id="{4D7E22D8-78A4-0160-8A7C-4A914BA0FE51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218113" y="1244600"/>
            <a:ext cx="2397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766C2E0-951E-4CA1-BDEF-6046F867D038}" type="datetime'''''''''''125K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5K</a:t>
            </a:fld>
            <a:endParaRPr lang="en-US" sz="800"/>
          </a:p>
        </p:txBody>
      </p:sp>
      <p:sp>
        <p:nvSpPr>
          <p:cNvPr id="374" name="Text Placeholder 2">
            <a:extLst>
              <a:ext uri="{FF2B5EF4-FFF2-40B4-BE49-F238E27FC236}">
                <a16:creationId xmlns:a16="http://schemas.microsoft.com/office/drawing/2014/main" id="{304BD5C8-6672-00BC-17B5-416DCB4F11D4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7658099" y="2935288"/>
            <a:ext cx="266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2C444D-958D-4C8C-A804-0686C9E404D2}" type="datetime'''''''3''''''5''''''''''''K'">
              <a:rPr lang="en-US" altLang="en-US" sz="10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K</a:t>
            </a:fld>
            <a:endParaRPr lang="en-US" sz="1000" b="1"/>
          </a:p>
        </p:txBody>
      </p:sp>
      <p:sp>
        <p:nvSpPr>
          <p:cNvPr id="371" name="Text Placeholder 2">
            <a:extLst>
              <a:ext uri="{FF2B5EF4-FFF2-40B4-BE49-F238E27FC236}">
                <a16:creationId xmlns:a16="http://schemas.microsoft.com/office/drawing/2014/main" id="{FF5167C3-816C-B634-71DF-40E34B66E6C1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7623174" y="1319213"/>
            <a:ext cx="336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90F02A-CBD6-4E90-9E05-3BD36DFE3E08}" type="datetime'1''''''''''1''''''''''''''''''''''''2''''''''''''''''''K'''">
              <a:rPr lang="en-US" altLang="en-US" sz="10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2K</a:t>
            </a:fld>
            <a:endParaRPr lang="en-US" sz="1000" b="1"/>
          </a:p>
        </p:txBody>
      </p: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0EF04B11-55E8-7EBC-75F9-123EE800D3A5}"/>
              </a:ext>
            </a:extLst>
          </p:cNvPr>
          <p:cNvCxnSpPr/>
          <p:nvPr>
            <p:custDataLst>
              <p:tags r:id="rId44"/>
            </p:custDataLst>
          </p:nvPr>
        </p:nvCxnSpPr>
        <p:spPr bwMode="gray">
          <a:xfrm>
            <a:off x="5575300" y="1431925"/>
            <a:ext cx="209550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7" name="Straight Connector 336">
            <a:extLst>
              <a:ext uri="{FF2B5EF4-FFF2-40B4-BE49-F238E27FC236}">
                <a16:creationId xmlns:a16="http://schemas.microsoft.com/office/drawing/2014/main" id="{B486483F-3EED-03B8-F076-91A17CABFF4F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5575300" y="1604963"/>
            <a:ext cx="209550" cy="0"/>
          </a:xfrm>
          <a:prstGeom prst="line">
            <a:avLst/>
          </a:prstGeom>
          <a:ln w="19050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5" name="Oval 364">
            <a:extLst>
              <a:ext uri="{FF2B5EF4-FFF2-40B4-BE49-F238E27FC236}">
                <a16:creationId xmlns:a16="http://schemas.microsoft.com/office/drawing/2014/main" id="{52F9219C-C4FB-FCA6-C415-FBBDB4EEC931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5641975" y="1393825"/>
            <a:ext cx="76200" cy="76200"/>
          </a:xfrm>
          <a:prstGeom prst="ellipse">
            <a:avLst/>
          </a:prstGeom>
          <a:solidFill>
            <a:srgbClr val="FF5700"/>
          </a:solidFill>
          <a:ln w="9525" cmpd="sng" algn="ctr">
            <a:solidFill>
              <a:srgbClr val="FF5700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679C6775-D2DE-ABB6-2747-6A36A7CE6DCB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5641975" y="1566863"/>
            <a:ext cx="76200" cy="76200"/>
          </a:xfrm>
          <a:prstGeom prst="ellipse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32" name="Text Placeholder 2">
            <a:extLst>
              <a:ext uri="{FF2B5EF4-FFF2-40B4-BE49-F238E27FC236}">
                <a16:creationId xmlns:a16="http://schemas.microsoft.com/office/drawing/2014/main" id="{3FDA45AE-DC15-2DA5-F4CA-F59CC50CB409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5845175" y="1374775"/>
            <a:ext cx="16875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F2F0815-F8FB-4882-A2C8-539E597044F8}" type="datetime'r/w''alls''''tr''''eetbe''ts fi''r''st ''ti''''me commenters'">
              <a:rPr lang="en-US" altLang="en-US" sz="8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/wallstreetbets first time commenters</a:t>
            </a:fld>
            <a:endParaRPr lang="en-US" sz="800"/>
          </a:p>
        </p:txBody>
      </p:sp>
      <p:sp>
        <p:nvSpPr>
          <p:cNvPr id="334" name="Text Placeholder 2">
            <a:extLst>
              <a:ext uri="{FF2B5EF4-FFF2-40B4-BE49-F238E27FC236}">
                <a16:creationId xmlns:a16="http://schemas.microsoft.com/office/drawing/2014/main" id="{20AEAA0B-E7AF-FFB5-CAAB-492ED6EB317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845175" y="1547813"/>
            <a:ext cx="15573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FF6352F-31B0-487E-96AA-33E0C2334CA7}" type="datetime'''Tot''''''al Reddit ''fi''r''''st-time com''me''nt''er''''s'">
              <a:rPr lang="en-US" altLang="en-US" sz="8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Total Reddit first-time commenters</a:t>
            </a:fld>
            <a:endParaRPr lang="en-US" sz="800"/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FEB82D6B-9860-376B-6404-E9B4CADFA127}"/>
              </a:ext>
            </a:extLst>
          </p:cNvPr>
          <p:cNvSpPr/>
          <p:nvPr/>
        </p:nvSpPr>
        <p:spPr bwMode="auto">
          <a:xfrm rot="16200000">
            <a:off x="4154592" y="2428641"/>
            <a:ext cx="1658939" cy="29574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kern="1200">
                <a:solidFill>
                  <a:schemeClr val="tx1"/>
                </a:solidFill>
                <a:ea typeface="Tahoma"/>
                <a:cs typeface="Tahoma"/>
              </a:rPr>
              <a:t>Number of Reddit users with a first-time comment</a:t>
            </a:r>
          </a:p>
        </p:txBody>
      </p:sp>
      <p:sp>
        <p:nvSpPr>
          <p:cNvPr id="357" name="Rectangle 356">
            <a:extLst>
              <a:ext uri="{FF2B5EF4-FFF2-40B4-BE49-F238E27FC236}">
                <a16:creationId xmlns:a16="http://schemas.microsoft.com/office/drawing/2014/main" id="{860F90A7-6280-2BAE-AD75-C649910304D6}"/>
              </a:ext>
            </a:extLst>
          </p:cNvPr>
          <p:cNvSpPr/>
          <p:nvPr/>
        </p:nvSpPr>
        <p:spPr bwMode="auto">
          <a:xfrm>
            <a:off x="5532120" y="843769"/>
            <a:ext cx="3154680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Largest number of users joining Reddit in a day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accent2"/>
                </a:solidFill>
                <a:ea typeface="Tahoma"/>
                <a:cs typeface="Tahoma"/>
              </a:rPr>
              <a:t>wallstreetbets</a:t>
            </a: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 likely drove new users to the platform</a:t>
            </a:r>
          </a:p>
        </p:txBody>
      </p:sp>
    </p:spTree>
    <p:extLst>
      <p:ext uri="{BB962C8B-B14F-4D97-AF65-F5344CB8AC3E}">
        <p14:creationId xmlns:p14="http://schemas.microsoft.com/office/powerpoint/2010/main" val="20341486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466DD5E-99DC-B082-1170-C5CF8BC3EE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3992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66DD5E-99DC-B082-1170-C5CF8BC3E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F19C963D-04E7-2261-9B32-3C63EBD85C51}"/>
              </a:ext>
            </a:extLst>
          </p:cNvPr>
          <p:cNvSpPr/>
          <p:nvPr/>
        </p:nvSpPr>
        <p:spPr bwMode="auto">
          <a:xfrm>
            <a:off x="2407752" y="4333038"/>
            <a:ext cx="1115102" cy="146839"/>
          </a:xfrm>
          <a:prstGeom prst="round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0A2ABC7-28FA-8599-528B-6970920958A3}"/>
              </a:ext>
            </a:extLst>
          </p:cNvPr>
          <p:cNvSpPr/>
          <p:nvPr/>
        </p:nvSpPr>
        <p:spPr bwMode="auto">
          <a:xfrm>
            <a:off x="469609" y="1372617"/>
            <a:ext cx="3873789" cy="147880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Two conditions:</a:t>
            </a:r>
            <a:endParaRPr lang="en-US" sz="1200">
              <a:solidFill>
                <a:schemeClr val="accent5"/>
              </a:solidFill>
              <a:ea typeface="Tahoma"/>
              <a:cs typeface="Tahoma"/>
            </a:endParaRP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other subreddit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on any subreddit other than 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r/</a:t>
            </a:r>
            <a:r>
              <a:rPr lang="en-US" sz="1200" u="sng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</a:t>
            </a:r>
            <a:r>
              <a:rPr lang="en-US" sz="1200" i="1">
                <a:solidFill>
                  <a:schemeClr val="tx1"/>
                </a:solidFill>
                <a:ea typeface="Tahoma"/>
                <a:cs typeface="Tahoma"/>
              </a:rPr>
              <a:t>on 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2118B9-4361-25F6-E0A7-2F9AAB0D42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5" y="118873"/>
            <a:ext cx="8228013" cy="619316"/>
          </a:xfrm>
        </p:spPr>
        <p:txBody>
          <a:bodyPr vert="horz"/>
          <a:lstStyle/>
          <a:p>
            <a:r>
              <a:rPr lang="en-US"/>
              <a:t>We can observe two sets of existing Reddit users of interest based on when they commented on r/WSB and other Subreddi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6C666-4456-C922-5F28-188E4B7A11A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5DD432-DD6C-A826-A56B-E990544DE9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9A3D4F8-6EAB-21D2-90B4-C1BF521F07A7}"/>
              </a:ext>
            </a:extLst>
          </p:cNvPr>
          <p:cNvSpPr/>
          <p:nvPr/>
        </p:nvSpPr>
        <p:spPr bwMode="auto">
          <a:xfrm>
            <a:off x="469610" y="829477"/>
            <a:ext cx="3873789" cy="42494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mpd="sng">
            <a:solidFill>
              <a:schemeClr val="tx1"/>
            </a:solidFill>
            <a:prstDash val="solid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Group A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:</a:t>
            </a:r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 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Pre-shock r/</a:t>
            </a:r>
            <a:r>
              <a:rPr lang="en-US" sz="1200" b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 commenter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BB33192-B479-E555-C3D7-3F455E84F1A9}"/>
              </a:ext>
            </a:extLst>
          </p:cNvPr>
          <p:cNvSpPr/>
          <p:nvPr/>
        </p:nvSpPr>
        <p:spPr bwMode="auto">
          <a:xfrm>
            <a:off x="4811718" y="829477"/>
            <a:ext cx="3886200" cy="42494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mpd="sng">
            <a:solidFill>
              <a:schemeClr val="tx1"/>
            </a:solidFill>
            <a:prstDash val="solid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Group B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:</a:t>
            </a:r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 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Post-shock r/</a:t>
            </a:r>
            <a:r>
              <a:rPr lang="en-US" sz="12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 commenters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41E2066-382B-2BBE-48B5-58DB3BCEFD54}"/>
              </a:ext>
            </a:extLst>
          </p:cNvPr>
          <p:cNvSpPr>
            <a:spLocks noChangeAspect="1"/>
          </p:cNvSpPr>
          <p:nvPr/>
        </p:nvSpPr>
        <p:spPr bwMode="auto">
          <a:xfrm>
            <a:off x="1868025" y="3731800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7CA6F39-0F2D-802C-77DF-A078F9488A82}"/>
              </a:ext>
            </a:extLst>
          </p:cNvPr>
          <p:cNvCxnSpPr>
            <a:cxnSpLocks/>
            <a:stCxn id="36" idx="2"/>
          </p:cNvCxnSpPr>
          <p:nvPr/>
        </p:nvCxnSpPr>
        <p:spPr>
          <a:xfrm>
            <a:off x="1868024" y="3779843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3826079-C9C8-C60D-EB98-54FFAF4D88BC}"/>
              </a:ext>
            </a:extLst>
          </p:cNvPr>
          <p:cNvCxnSpPr>
            <a:cxnSpLocks/>
          </p:cNvCxnSpPr>
          <p:nvPr/>
        </p:nvCxnSpPr>
        <p:spPr>
          <a:xfrm>
            <a:off x="2965304" y="3114006"/>
            <a:ext cx="0" cy="1365876"/>
          </a:xfrm>
          <a:prstGeom prst="line">
            <a:avLst/>
          </a:prstGeom>
          <a:ln w="19050" cmpd="sng">
            <a:solidFill>
              <a:srgbClr val="FF57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96B23317-3BF7-C02C-A5A9-D92AA37EB308}"/>
              </a:ext>
            </a:extLst>
          </p:cNvPr>
          <p:cNvCxnSpPr>
            <a:cxnSpLocks/>
            <a:stCxn id="36" idx="2"/>
          </p:cNvCxnSpPr>
          <p:nvPr/>
        </p:nvCxnSpPr>
        <p:spPr>
          <a:xfrm flipH="1">
            <a:off x="1593704" y="3779843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AF32D900-56E7-DFF7-8015-1788CEF6E70C}"/>
              </a:ext>
            </a:extLst>
          </p:cNvPr>
          <p:cNvCxnSpPr>
            <a:cxnSpLocks/>
          </p:cNvCxnSpPr>
          <p:nvPr/>
        </p:nvCxnSpPr>
        <p:spPr>
          <a:xfrm>
            <a:off x="2965304" y="3779843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Oval 44">
            <a:extLst>
              <a:ext uri="{FF2B5EF4-FFF2-40B4-BE49-F238E27FC236}">
                <a16:creationId xmlns:a16="http://schemas.microsoft.com/office/drawing/2014/main" id="{98DFDC12-402F-A445-31E6-7ECB6AE320F9}"/>
              </a:ext>
            </a:extLst>
          </p:cNvPr>
          <p:cNvSpPr>
            <a:spLocks noChangeAspect="1"/>
          </p:cNvSpPr>
          <p:nvPr/>
        </p:nvSpPr>
        <p:spPr bwMode="auto">
          <a:xfrm>
            <a:off x="3966499" y="3731800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51A4E2B0-EE49-EA67-671A-0844BDEA0B33}"/>
              </a:ext>
            </a:extLst>
          </p:cNvPr>
          <p:cNvCxnSpPr>
            <a:cxnSpLocks/>
            <a:stCxn id="45" idx="6"/>
          </p:cNvCxnSpPr>
          <p:nvPr/>
        </p:nvCxnSpPr>
        <p:spPr>
          <a:xfrm>
            <a:off x="4062584" y="3779843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Oval 60">
            <a:extLst>
              <a:ext uri="{FF2B5EF4-FFF2-40B4-BE49-F238E27FC236}">
                <a16:creationId xmlns:a16="http://schemas.microsoft.com/office/drawing/2014/main" id="{D07D81A4-42F4-24EF-7C86-C14EC389EAB0}"/>
              </a:ext>
            </a:extLst>
          </p:cNvPr>
          <p:cNvSpPr>
            <a:spLocks noChangeAspect="1"/>
          </p:cNvSpPr>
          <p:nvPr/>
        </p:nvSpPr>
        <p:spPr bwMode="auto">
          <a:xfrm>
            <a:off x="1868025" y="3359716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7FB59875-6CF1-3ADD-4ED3-ECDCBA2F5D9D}"/>
              </a:ext>
            </a:extLst>
          </p:cNvPr>
          <p:cNvCxnSpPr>
            <a:cxnSpLocks/>
            <a:stCxn id="61" idx="2"/>
          </p:cNvCxnSpPr>
          <p:nvPr/>
        </p:nvCxnSpPr>
        <p:spPr>
          <a:xfrm>
            <a:off x="1868024" y="3407759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556E7FD2-9E60-7764-E5CE-364E934371FC}"/>
              </a:ext>
            </a:extLst>
          </p:cNvPr>
          <p:cNvCxnSpPr>
            <a:cxnSpLocks/>
            <a:stCxn id="61" idx="2"/>
          </p:cNvCxnSpPr>
          <p:nvPr/>
        </p:nvCxnSpPr>
        <p:spPr>
          <a:xfrm flipH="1">
            <a:off x="1593704" y="3407759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EAF6A16-43B6-958D-1713-C21555C1BE4C}"/>
              </a:ext>
            </a:extLst>
          </p:cNvPr>
          <p:cNvCxnSpPr>
            <a:cxnSpLocks/>
          </p:cNvCxnSpPr>
          <p:nvPr/>
        </p:nvCxnSpPr>
        <p:spPr>
          <a:xfrm>
            <a:off x="2965304" y="3407759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id="{90470A40-268A-32B0-4014-F98118552AE6}"/>
              </a:ext>
            </a:extLst>
          </p:cNvPr>
          <p:cNvSpPr>
            <a:spLocks noChangeAspect="1"/>
          </p:cNvSpPr>
          <p:nvPr/>
        </p:nvSpPr>
        <p:spPr bwMode="auto">
          <a:xfrm>
            <a:off x="3966499" y="3359716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3992047E-218F-C195-2359-AFC987200A2C}"/>
              </a:ext>
            </a:extLst>
          </p:cNvPr>
          <p:cNvCxnSpPr>
            <a:cxnSpLocks/>
            <a:stCxn id="66" idx="6"/>
          </p:cNvCxnSpPr>
          <p:nvPr/>
        </p:nvCxnSpPr>
        <p:spPr>
          <a:xfrm>
            <a:off x="4062584" y="3407759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Right Brace 67">
            <a:extLst>
              <a:ext uri="{FF2B5EF4-FFF2-40B4-BE49-F238E27FC236}">
                <a16:creationId xmlns:a16="http://schemas.microsoft.com/office/drawing/2014/main" id="{A305CD10-1EA4-FFFC-B3C3-917C1CEF657D}"/>
              </a:ext>
            </a:extLst>
          </p:cNvPr>
          <p:cNvSpPr/>
          <p:nvPr/>
        </p:nvSpPr>
        <p:spPr>
          <a:xfrm rot="16200000">
            <a:off x="2382001" y="2793671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80C2AFF1-EB10-1673-3798-DB29BD6E6B14}"/>
              </a:ext>
            </a:extLst>
          </p:cNvPr>
          <p:cNvSpPr/>
          <p:nvPr/>
        </p:nvSpPr>
        <p:spPr bwMode="auto">
          <a:xfrm>
            <a:off x="625444" y="3335967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Other subreddit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72" name="Right Brace 71">
            <a:extLst>
              <a:ext uri="{FF2B5EF4-FFF2-40B4-BE49-F238E27FC236}">
                <a16:creationId xmlns:a16="http://schemas.microsoft.com/office/drawing/2014/main" id="{27953B5C-2EC2-7CD3-7189-A382FA441000}"/>
              </a:ext>
            </a:extLst>
          </p:cNvPr>
          <p:cNvSpPr/>
          <p:nvPr/>
        </p:nvSpPr>
        <p:spPr>
          <a:xfrm rot="5400000">
            <a:off x="2382001" y="3356010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8337E16-E321-D296-3A85-66426049A898}"/>
              </a:ext>
            </a:extLst>
          </p:cNvPr>
          <p:cNvSpPr/>
          <p:nvPr/>
        </p:nvSpPr>
        <p:spPr bwMode="auto">
          <a:xfrm>
            <a:off x="1983445" y="292174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other subreddit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B9DB024-254C-E4DA-F853-7C397D456CBD}"/>
              </a:ext>
            </a:extLst>
          </p:cNvPr>
          <p:cNvSpPr/>
          <p:nvPr/>
        </p:nvSpPr>
        <p:spPr bwMode="auto">
          <a:xfrm>
            <a:off x="2436137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re-shock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30B56CB-3E4D-6926-A5B8-485DB19D2CF6}"/>
              </a:ext>
            </a:extLst>
          </p:cNvPr>
          <p:cNvSpPr/>
          <p:nvPr/>
        </p:nvSpPr>
        <p:spPr bwMode="auto">
          <a:xfrm>
            <a:off x="3008685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ost-shock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20FEC4B2-F3EF-D0CC-6240-1C275BEDE0E8}"/>
              </a:ext>
            </a:extLst>
          </p:cNvPr>
          <p:cNvSpPr/>
          <p:nvPr/>
        </p:nvSpPr>
        <p:spPr bwMode="auto">
          <a:xfrm>
            <a:off x="625444" y="3708050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C3632793-C109-CA23-C140-5A7F7E850224}"/>
              </a:ext>
            </a:extLst>
          </p:cNvPr>
          <p:cNvSpPr/>
          <p:nvPr/>
        </p:nvSpPr>
        <p:spPr bwMode="auto">
          <a:xfrm>
            <a:off x="1983445" y="396275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7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CC8BAF7A-E6D3-30D3-89D8-20AE5CC6ECF1}"/>
              </a:ext>
            </a:extLst>
          </p:cNvPr>
          <p:cNvSpPr/>
          <p:nvPr/>
        </p:nvSpPr>
        <p:spPr bwMode="auto">
          <a:xfrm>
            <a:off x="4813011" y="1372617"/>
            <a:ext cx="3873789" cy="147880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Two conditions:</a:t>
            </a:r>
            <a:endParaRPr lang="en-US" sz="1200">
              <a:solidFill>
                <a:schemeClr val="accent5"/>
              </a:solidFill>
              <a:ea typeface="Tahoma"/>
              <a:cs typeface="Tahoma"/>
            </a:endParaRP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other subreddit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on any Subreddit other than 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ost-shock r/</a:t>
            </a:r>
            <a:r>
              <a:rPr lang="en-US" sz="1200" u="sng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</a:t>
            </a:r>
            <a:r>
              <a:rPr lang="en-US" sz="1200" i="1">
                <a:solidFill>
                  <a:schemeClr val="tx1"/>
                </a:solidFill>
                <a:ea typeface="Tahoma"/>
                <a:cs typeface="Tahoma"/>
              </a:rPr>
              <a:t>on r/</a:t>
            </a:r>
            <a:r>
              <a:rPr lang="en-US" sz="1200" i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after to the shock</a:t>
            </a: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88572CBD-541D-B3B2-550D-AE46A22D1589}"/>
              </a:ext>
            </a:extLst>
          </p:cNvPr>
          <p:cNvSpPr/>
          <p:nvPr/>
        </p:nvSpPr>
        <p:spPr bwMode="auto">
          <a:xfrm>
            <a:off x="6738179" y="4333038"/>
            <a:ext cx="1115102" cy="146839"/>
          </a:xfrm>
          <a:prstGeom prst="round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1387B213-AF93-9964-F009-9A46A9BE959F}"/>
              </a:ext>
            </a:extLst>
          </p:cNvPr>
          <p:cNvSpPr>
            <a:spLocks noChangeAspect="1"/>
          </p:cNvSpPr>
          <p:nvPr/>
        </p:nvSpPr>
        <p:spPr bwMode="auto">
          <a:xfrm>
            <a:off x="6198452" y="3731800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A478DE5C-4D7C-610D-462D-188B8D64FC48}"/>
              </a:ext>
            </a:extLst>
          </p:cNvPr>
          <p:cNvCxnSpPr>
            <a:cxnSpLocks/>
            <a:stCxn id="90" idx="2"/>
          </p:cNvCxnSpPr>
          <p:nvPr/>
        </p:nvCxnSpPr>
        <p:spPr>
          <a:xfrm>
            <a:off x="6198451" y="3779843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5138AC98-4B03-3630-9B2B-63C71F31CDAE}"/>
              </a:ext>
            </a:extLst>
          </p:cNvPr>
          <p:cNvCxnSpPr>
            <a:cxnSpLocks/>
          </p:cNvCxnSpPr>
          <p:nvPr/>
        </p:nvCxnSpPr>
        <p:spPr>
          <a:xfrm>
            <a:off x="7295731" y="3114006"/>
            <a:ext cx="0" cy="1365876"/>
          </a:xfrm>
          <a:prstGeom prst="line">
            <a:avLst/>
          </a:prstGeom>
          <a:ln w="19050" cmpd="sng">
            <a:solidFill>
              <a:srgbClr val="FF57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0FF104D7-AE02-E03F-0772-FC927551747D}"/>
              </a:ext>
            </a:extLst>
          </p:cNvPr>
          <p:cNvCxnSpPr>
            <a:cxnSpLocks/>
            <a:stCxn id="90" idx="2"/>
          </p:cNvCxnSpPr>
          <p:nvPr/>
        </p:nvCxnSpPr>
        <p:spPr>
          <a:xfrm flipH="1">
            <a:off x="5924131" y="3779843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7C978A73-B2D2-8CB3-ECDE-417A891F9C24}"/>
              </a:ext>
            </a:extLst>
          </p:cNvPr>
          <p:cNvCxnSpPr>
            <a:cxnSpLocks/>
          </p:cNvCxnSpPr>
          <p:nvPr/>
        </p:nvCxnSpPr>
        <p:spPr>
          <a:xfrm>
            <a:off x="7295731" y="3779843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Oval 94">
            <a:extLst>
              <a:ext uri="{FF2B5EF4-FFF2-40B4-BE49-F238E27FC236}">
                <a16:creationId xmlns:a16="http://schemas.microsoft.com/office/drawing/2014/main" id="{2793CB64-8F04-22BE-F257-C87AD2C28025}"/>
              </a:ext>
            </a:extLst>
          </p:cNvPr>
          <p:cNvSpPr>
            <a:spLocks noChangeAspect="1"/>
          </p:cNvSpPr>
          <p:nvPr/>
        </p:nvSpPr>
        <p:spPr bwMode="auto">
          <a:xfrm>
            <a:off x="8296926" y="3731800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9F1477CA-3DF4-CDF9-E2F9-6B120D537F6E}"/>
              </a:ext>
            </a:extLst>
          </p:cNvPr>
          <p:cNvCxnSpPr>
            <a:cxnSpLocks/>
            <a:stCxn id="95" idx="6"/>
          </p:cNvCxnSpPr>
          <p:nvPr/>
        </p:nvCxnSpPr>
        <p:spPr>
          <a:xfrm>
            <a:off x="8393011" y="3779843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" name="Oval 96">
            <a:extLst>
              <a:ext uri="{FF2B5EF4-FFF2-40B4-BE49-F238E27FC236}">
                <a16:creationId xmlns:a16="http://schemas.microsoft.com/office/drawing/2014/main" id="{460C32AE-48BD-0331-2E17-7C0DF5D18EDA}"/>
              </a:ext>
            </a:extLst>
          </p:cNvPr>
          <p:cNvSpPr>
            <a:spLocks noChangeAspect="1"/>
          </p:cNvSpPr>
          <p:nvPr/>
        </p:nvSpPr>
        <p:spPr bwMode="auto">
          <a:xfrm>
            <a:off x="6198452" y="3359716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7E95A094-7F27-FC49-4BEF-AA5C167401E5}"/>
              </a:ext>
            </a:extLst>
          </p:cNvPr>
          <p:cNvCxnSpPr>
            <a:cxnSpLocks/>
            <a:stCxn id="97" idx="2"/>
          </p:cNvCxnSpPr>
          <p:nvPr/>
        </p:nvCxnSpPr>
        <p:spPr>
          <a:xfrm>
            <a:off x="6198451" y="3407759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78B68184-2393-395D-EAD7-87036B840081}"/>
              </a:ext>
            </a:extLst>
          </p:cNvPr>
          <p:cNvCxnSpPr>
            <a:cxnSpLocks/>
            <a:stCxn id="97" idx="2"/>
          </p:cNvCxnSpPr>
          <p:nvPr/>
        </p:nvCxnSpPr>
        <p:spPr>
          <a:xfrm flipH="1">
            <a:off x="5924131" y="3407759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F7B20994-52BD-8739-4A2F-F9DC7B4A440B}"/>
              </a:ext>
            </a:extLst>
          </p:cNvPr>
          <p:cNvCxnSpPr>
            <a:cxnSpLocks/>
          </p:cNvCxnSpPr>
          <p:nvPr/>
        </p:nvCxnSpPr>
        <p:spPr>
          <a:xfrm>
            <a:off x="7295731" y="3407759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1" name="Oval 100">
            <a:extLst>
              <a:ext uri="{FF2B5EF4-FFF2-40B4-BE49-F238E27FC236}">
                <a16:creationId xmlns:a16="http://schemas.microsoft.com/office/drawing/2014/main" id="{6E568623-0A90-B128-7808-41FB42AAFC52}"/>
              </a:ext>
            </a:extLst>
          </p:cNvPr>
          <p:cNvSpPr>
            <a:spLocks noChangeAspect="1"/>
          </p:cNvSpPr>
          <p:nvPr/>
        </p:nvSpPr>
        <p:spPr bwMode="auto">
          <a:xfrm>
            <a:off x="8296926" y="3359716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BA4349BB-219E-4CE2-03AD-BCCA90F39887}"/>
              </a:ext>
            </a:extLst>
          </p:cNvPr>
          <p:cNvCxnSpPr>
            <a:cxnSpLocks/>
            <a:stCxn id="101" idx="6"/>
          </p:cNvCxnSpPr>
          <p:nvPr/>
        </p:nvCxnSpPr>
        <p:spPr>
          <a:xfrm>
            <a:off x="8393011" y="3407759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ight Brace 102">
            <a:extLst>
              <a:ext uri="{FF2B5EF4-FFF2-40B4-BE49-F238E27FC236}">
                <a16:creationId xmlns:a16="http://schemas.microsoft.com/office/drawing/2014/main" id="{DEAF2E8F-91E0-A675-33CE-4FCD09A7CB87}"/>
              </a:ext>
            </a:extLst>
          </p:cNvPr>
          <p:cNvSpPr/>
          <p:nvPr/>
        </p:nvSpPr>
        <p:spPr>
          <a:xfrm rot="16200000">
            <a:off x="6712428" y="2793671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FDCCDB1-D2E1-3180-0B9B-7F45DED75073}"/>
              </a:ext>
            </a:extLst>
          </p:cNvPr>
          <p:cNvSpPr/>
          <p:nvPr/>
        </p:nvSpPr>
        <p:spPr bwMode="auto">
          <a:xfrm>
            <a:off x="4955871" y="3335967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Other subreddit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05" name="Right Brace 104">
            <a:extLst>
              <a:ext uri="{FF2B5EF4-FFF2-40B4-BE49-F238E27FC236}">
                <a16:creationId xmlns:a16="http://schemas.microsoft.com/office/drawing/2014/main" id="{836ABB1E-CD38-88C8-CF83-6E7CF6D424F2}"/>
              </a:ext>
            </a:extLst>
          </p:cNvPr>
          <p:cNvSpPr/>
          <p:nvPr/>
        </p:nvSpPr>
        <p:spPr>
          <a:xfrm rot="5400000">
            <a:off x="7775269" y="3356010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7D84750-49C4-FC36-879A-F2A540CD9360}"/>
              </a:ext>
            </a:extLst>
          </p:cNvPr>
          <p:cNvSpPr/>
          <p:nvPr/>
        </p:nvSpPr>
        <p:spPr bwMode="auto">
          <a:xfrm>
            <a:off x="6313872" y="292174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other subreddit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DAC1FA08-E2D5-26FC-0AB0-04829A73C35F}"/>
              </a:ext>
            </a:extLst>
          </p:cNvPr>
          <p:cNvSpPr/>
          <p:nvPr/>
        </p:nvSpPr>
        <p:spPr bwMode="auto">
          <a:xfrm>
            <a:off x="6766564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re-shock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233EA6DF-41D8-54A6-F649-4D3938B4948C}"/>
              </a:ext>
            </a:extLst>
          </p:cNvPr>
          <p:cNvSpPr/>
          <p:nvPr/>
        </p:nvSpPr>
        <p:spPr bwMode="auto">
          <a:xfrm>
            <a:off x="7339112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ost-shock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FE0CA31B-79AC-A852-E4AD-35E45B1F45D1}"/>
              </a:ext>
            </a:extLst>
          </p:cNvPr>
          <p:cNvSpPr/>
          <p:nvPr/>
        </p:nvSpPr>
        <p:spPr bwMode="auto">
          <a:xfrm>
            <a:off x="4955871" y="3708050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41A9F26F-F793-E602-323F-4A9F7290D9B3}"/>
              </a:ext>
            </a:extLst>
          </p:cNvPr>
          <p:cNvSpPr/>
          <p:nvPr/>
        </p:nvSpPr>
        <p:spPr bwMode="auto">
          <a:xfrm>
            <a:off x="7376713" y="396275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7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</p:spTree>
    <p:extLst>
      <p:ext uri="{BB962C8B-B14F-4D97-AF65-F5344CB8AC3E}">
        <p14:creationId xmlns:p14="http://schemas.microsoft.com/office/powerpoint/2010/main" val="32576853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E9468F4-AA74-1BAE-A100-743E7DE3B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12" progId="TCLayout.ActiveDocument.1">
                  <p:embed/>
                </p:oleObj>
              </mc:Choice>
              <mc:Fallback>
                <p:oleObj name="think-cell Slide" r:id="rId4" imgW="305" imgH="31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E9468F4-AA74-1BAE-A100-743E7DE3B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angle 47">
            <a:extLst>
              <a:ext uri="{FF2B5EF4-FFF2-40B4-BE49-F238E27FC236}">
                <a16:creationId xmlns:a16="http://schemas.microsoft.com/office/drawing/2014/main" id="{5EE739EA-2CF9-9329-8EB3-C1FF21A270E4}"/>
              </a:ext>
            </a:extLst>
          </p:cNvPr>
          <p:cNvSpPr/>
          <p:nvPr/>
        </p:nvSpPr>
        <p:spPr bwMode="auto">
          <a:xfrm>
            <a:off x="2094547" y="3511767"/>
            <a:ext cx="6594946" cy="100691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0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842E04FB-A48D-AF92-B5E9-25715F37649F}"/>
                  </a:ext>
                </a:extLst>
              </p:cNvPr>
              <p:cNvSpPr/>
              <p:nvPr/>
            </p:nvSpPr>
            <p:spPr bwMode="auto">
              <a:xfrm>
                <a:off x="6474684" y="3602877"/>
                <a:ext cx="1139346" cy="314626"/>
              </a:xfrm>
              <a:prstGeom prst="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𝛼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𝛽</m:t>
                      </m:r>
                    </m:oMath>
                  </m:oMathPara>
                </a14:m>
                <a:endParaRPr lang="en-US" sz="1200" kern="1200">
                  <a:solidFill>
                    <a:schemeClr val="tx1"/>
                  </a:solidFill>
                  <a:ea typeface="Tahoma"/>
                  <a:cs typeface="Tahoma"/>
                </a:endParaRPr>
              </a:p>
            </p:txBody>
          </p:sp>
        </mc:Choice>
        <mc:Fallback xmlns=""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842E04FB-A48D-AF92-B5E9-25715F37649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474684" y="3602877"/>
                <a:ext cx="1139346" cy="31462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8D1C629-98E6-180B-DFC7-FBED1A74B8CA}"/>
                  </a:ext>
                </a:extLst>
              </p:cNvPr>
              <p:cNvSpPr/>
              <p:nvPr/>
            </p:nvSpPr>
            <p:spPr bwMode="auto">
              <a:xfrm>
                <a:off x="3339835" y="3633223"/>
                <a:ext cx="805177" cy="259120"/>
              </a:xfrm>
              <a:prstGeom prst="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𝛼</m:t>
                      </m:r>
                    </m:oMath>
                  </m:oMathPara>
                </a14:m>
                <a:endParaRPr lang="en-US" sz="1200" kern="1200">
                  <a:solidFill>
                    <a:schemeClr val="tx1"/>
                  </a:solidFill>
                  <a:ea typeface="Tahoma"/>
                  <a:cs typeface="Tahoma"/>
                </a:endParaRPr>
              </a:p>
            </p:txBody>
          </p:sp>
        </mc:Choice>
        <mc:Fallback xmlns="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8D1C629-98E6-180B-DFC7-FBED1A74B8C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339835" y="3633223"/>
                <a:ext cx="805177" cy="25912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B4942C-F695-BBC2-1CBA-2E1BDBE56A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6</a:t>
            </a:fld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04FF894-E5A5-ECA0-3AF8-D817D73AEAA2}"/>
                  </a:ext>
                </a:extLst>
              </p:cNvPr>
              <p:cNvSpPr txBox="1"/>
              <p:nvPr/>
            </p:nvSpPr>
            <p:spPr>
              <a:xfrm>
                <a:off x="469610" y="877956"/>
                <a:ext cx="5408293" cy="1834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000" b="1"/>
                  <a:t>Regression discontinuity (RD) in time</a:t>
                </a:r>
                <a:r>
                  <a:rPr lang="en-US" sz="1000"/>
                  <a:t>: Compare user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en-US" sz="1000"/>
                  <a:t> engagement pre shock (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r>
                  <a:rPr lang="en-US" sz="1000"/>
                  <a:t>) to the engagement during/after the shock (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r>
                  <a:rPr lang="en-US" sz="1000"/>
                  <a:t>)</a:t>
                </a:r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10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𝑁𝑜𝑛𝑊𝑆𝐵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𝛾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⋅</m:t>
                      </m:r>
                      <m:d>
                        <m:dPr>
                          <m:ctrlPr>
                            <a:rPr lang="en-US" sz="1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</m:sSub>
                        </m:e>
                      </m:d>
                      <m:r>
                        <a:rPr lang="en-US" sz="10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𝛿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𝑁𝑜𝑛𝑊𝑆𝐵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⋅</m:t>
                      </m:r>
                      <m:d>
                        <m:dPr>
                          <m:ctrlPr>
                            <a:rPr lang="en-US" sz="1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</m:sSub>
                        </m:e>
                      </m:d>
                      <m:r>
                        <a:rPr lang="en-US" sz="10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1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n-US" sz="1000"/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000"/>
                  <a:t>where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  <m:sub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𝑅</m:t>
                        </m:r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000"/>
                  <a:t> is user </a:t>
                </a:r>
                <a14:m>
                  <m:oMath xmlns:m="http://schemas.openxmlformats.org/officeDocument/2006/math">
                    <m:r>
                      <a:rPr lang="en-US" sz="1000" b="0" i="1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en-US" sz="1000"/>
                  <a:t> engagement in period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𝑡</m:t>
                    </m:r>
                  </m:oMath>
                </a14:m>
                <a:r>
                  <a:rPr lang="en-US" sz="1000"/>
                  <a:t> in subreddit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𝑅</m:t>
                    </m:r>
                  </m:oMath>
                </a14:m>
                <a:r>
                  <a:rPr lang="en-US" sz="1000"/>
                  <a:t> and</a:t>
                </a:r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𝑁𝑜𝑛𝑊𝑆𝐵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en-US" sz="1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2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100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en-US" sz="1000" i="1">
                                    <a:latin typeface="Cambria Math" panose="02040503050406030204" pitchFamily="18" charset="0"/>
                                  </a:rPr>
                                  <m:t>𝑖𝑓</m:t>
                                </m:r>
                                <m:r>
                                  <a:rPr lang="en-US" sz="1000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𝑊𝑆𝐵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en-US" sz="1000" i="1">
                                    <a:latin typeface="Cambria Math" panose="02040503050406030204" pitchFamily="18" charset="0"/>
                                  </a:rPr>
                                  <m:t>𝑖𝑓</m:t>
                                </m:r>
                                <m:r>
                                  <a:rPr lang="en-US" sz="1000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𝑅𝑒𝑠𝑡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𝑜𝑓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𝑅𝑒𝑑𝑑𝑖𝑡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sz="1000"/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000" b="1"/>
                  <a:t>Identifying assumption: </a:t>
                </a:r>
                <a:r>
                  <a:rPr lang="en-US" sz="1000"/>
                  <a:t>Only exogenous shock in WSB’s popularity changes during the sample period</a:t>
                </a: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04FF894-E5A5-ECA0-3AF8-D817D73AEAA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9610" y="877956"/>
                <a:ext cx="5408293" cy="1834220"/>
              </a:xfrm>
              <a:prstGeom prst="rect">
                <a:avLst/>
              </a:prstGeom>
              <a:blipFill>
                <a:blip r:embed="rId8"/>
                <a:stretch>
                  <a:fillRect b="-3488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620561F-EF38-41D5-27BE-09660678D9FB}"/>
                  </a:ext>
                </a:extLst>
              </p:cNvPr>
              <p:cNvSpPr txBox="1"/>
              <p:nvPr/>
            </p:nvSpPr>
            <p:spPr>
              <a:xfrm>
                <a:off x="2754868" y="3225938"/>
                <a:ext cx="1975111" cy="274320"/>
              </a:xfrm>
              <a:prstGeom prst="round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000" b="1"/>
                  <a:t>WSB (</a:t>
                </a:r>
                <a14:m>
                  <m:oMath xmlns:m="http://schemas.openxmlformats.org/officeDocument/2006/math"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𝑵𝒐𝒏𝑾𝑺𝑩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en-US" sz="1000" b="1"/>
                  <a:t>)</a:t>
                </a:r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620561F-EF38-41D5-27BE-09660678D9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4868" y="3225938"/>
                <a:ext cx="1975111" cy="274320"/>
              </a:xfrm>
              <a:prstGeom prst="roundRect">
                <a:avLst/>
              </a:prstGeom>
              <a:blipFill>
                <a:blip r:embed="rId9"/>
                <a:stretch>
                  <a:fillRect b="-444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8CCBF21-0B68-F939-E324-9C2EE3E30FA9}"/>
                  </a:ext>
                </a:extLst>
              </p:cNvPr>
              <p:cNvSpPr txBox="1"/>
              <p:nvPr/>
            </p:nvSpPr>
            <p:spPr>
              <a:xfrm>
                <a:off x="6056801" y="3228305"/>
                <a:ext cx="1975112" cy="272415"/>
              </a:xfrm>
              <a:prstGeom prst="round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000" b="1"/>
                  <a:t>Rest of Reddit (</a:t>
                </a:r>
                <a14:m>
                  <m:oMath xmlns:m="http://schemas.openxmlformats.org/officeDocument/2006/math"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𝑵𝒐𝒏𝑾𝑺𝑩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r>
                  <a:rPr lang="en-US" sz="1000" b="1"/>
                  <a:t>)</a:t>
                </a:r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8CCBF21-0B68-F939-E324-9C2EE3E30F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56801" y="3228305"/>
                <a:ext cx="1975112" cy="272415"/>
              </a:xfrm>
              <a:prstGeom prst="roundRect">
                <a:avLst/>
              </a:prstGeom>
              <a:blipFill>
                <a:blip r:embed="rId10"/>
                <a:stretch>
                  <a:fillRect b="-454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2936CC2-34BF-6DD8-8BDF-C2034773EF39}"/>
              </a:ext>
            </a:extLst>
          </p:cNvPr>
          <p:cNvCxnSpPr>
            <a:cxnSpLocks/>
          </p:cNvCxnSpPr>
          <p:nvPr/>
        </p:nvCxnSpPr>
        <p:spPr>
          <a:xfrm>
            <a:off x="5396478" y="2978582"/>
            <a:ext cx="0" cy="1540100"/>
          </a:xfrm>
          <a:prstGeom prst="line">
            <a:avLst/>
          </a:prstGeom>
          <a:ln w="6350" cmpd="sng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2130FF9-87A7-EF06-2DA6-626E922FF278}"/>
              </a:ext>
            </a:extLst>
          </p:cNvPr>
          <p:cNvCxnSpPr>
            <a:cxnSpLocks/>
          </p:cNvCxnSpPr>
          <p:nvPr/>
        </p:nvCxnSpPr>
        <p:spPr>
          <a:xfrm>
            <a:off x="462467" y="3509996"/>
            <a:ext cx="8229600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D436B21-B693-EDC7-037D-D4726041B26E}"/>
              </a:ext>
            </a:extLst>
          </p:cNvPr>
          <p:cNvCxnSpPr>
            <a:cxnSpLocks/>
          </p:cNvCxnSpPr>
          <p:nvPr/>
        </p:nvCxnSpPr>
        <p:spPr>
          <a:xfrm>
            <a:off x="2094546" y="3021570"/>
            <a:ext cx="0" cy="1497112"/>
          </a:xfrm>
          <a:prstGeom prst="line">
            <a:avLst/>
          </a:prstGeom>
          <a:ln w="6350" cmpd="sng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C02A301-A100-2AB1-83D5-336FECFE5F88}"/>
              </a:ext>
            </a:extLst>
          </p:cNvPr>
          <p:cNvCxnSpPr>
            <a:cxnSpLocks/>
          </p:cNvCxnSpPr>
          <p:nvPr/>
        </p:nvCxnSpPr>
        <p:spPr>
          <a:xfrm>
            <a:off x="462467" y="4017415"/>
            <a:ext cx="8229600" cy="0"/>
          </a:xfrm>
          <a:prstGeom prst="line">
            <a:avLst/>
          </a:prstGeom>
          <a:ln w="6350" cmpd="sng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64860409-FEC5-D6DB-0456-D134E3705C75}"/>
                  </a:ext>
                </a:extLst>
              </p:cNvPr>
              <p:cNvSpPr/>
              <p:nvPr/>
            </p:nvSpPr>
            <p:spPr bwMode="auto">
              <a:xfrm>
                <a:off x="551221" y="3645458"/>
                <a:ext cx="1499182" cy="274320"/>
              </a:xfrm>
              <a:prstGeom prst="round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:r>
                  <a:rPr lang="en-US" sz="1000" b="1">
                    <a:solidFill>
                      <a:schemeClr val="tx1"/>
                    </a:solidFill>
                    <a:ea typeface="Tahoma"/>
                    <a:cs typeface="Tahoma"/>
                  </a:rPr>
                  <a:t>Pre shock </a:t>
                </a:r>
                <a:r>
                  <a:rPr lang="en-US" sz="1000" b="1" kern="1200">
                    <a:solidFill>
                      <a:schemeClr val="tx1"/>
                    </a:solidFill>
                    <a:ea typeface="Tahoma"/>
                    <a:cs typeface="Tahoma"/>
                  </a:rPr>
                  <a:t>(</a:t>
                </a:r>
                <a14:m>
                  <m:oMath xmlns:m="http://schemas.openxmlformats.org/officeDocument/2006/math"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𝒕</m:t>
                    </m:r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=</m:t>
                    </m:r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𝟎</m:t>
                    </m:r>
                  </m:oMath>
                </a14:m>
                <a:r>
                  <a:rPr lang="en-US" sz="1000" b="1" kern="1200">
                    <a:solidFill>
                      <a:schemeClr val="tx1"/>
                    </a:solidFill>
                    <a:ea typeface="Tahoma"/>
                    <a:cs typeface="Tahoma"/>
                  </a:rPr>
                  <a:t>)</a:t>
                </a:r>
              </a:p>
            </p:txBody>
          </p:sp>
        </mc:Choice>
        <mc:Fallback xmlns=""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64860409-FEC5-D6DB-0456-D134E3705C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51221" y="3645458"/>
                <a:ext cx="1499182" cy="274320"/>
              </a:xfrm>
              <a:prstGeom prst="roundRect">
                <a:avLst/>
              </a:prstGeom>
              <a:blipFill>
                <a:blip r:embed="rId11"/>
                <a:stretch>
                  <a:fillRect b="-4444"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id="{335AEDAB-DBC1-6A51-B978-3785876529E7}"/>
                  </a:ext>
                </a:extLst>
              </p:cNvPr>
              <p:cNvSpPr/>
              <p:nvPr/>
            </p:nvSpPr>
            <p:spPr bwMode="auto">
              <a:xfrm>
                <a:off x="551221" y="4123413"/>
                <a:ext cx="1486186" cy="274320"/>
              </a:xfrm>
              <a:prstGeom prst="round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:r>
                  <a:rPr lang="en-US" sz="1000" b="1">
                    <a:solidFill>
                      <a:schemeClr val="tx1"/>
                    </a:solidFill>
                    <a:ea typeface="Tahoma"/>
                    <a:cs typeface="Tahoma"/>
                  </a:rPr>
                  <a:t>Post shock </a:t>
                </a:r>
                <a:r>
                  <a:rPr lang="en-US" sz="1000" b="1" kern="1200">
                    <a:solidFill>
                      <a:schemeClr val="tx1"/>
                    </a:solidFill>
                    <a:ea typeface="Tahoma"/>
                    <a:cs typeface="Tahoma"/>
                  </a:rPr>
                  <a:t>(</a:t>
                </a:r>
                <a14:m>
                  <m:oMath xmlns:m="http://schemas.openxmlformats.org/officeDocument/2006/math"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𝒕</m:t>
                    </m:r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=</m:t>
                    </m:r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𝟏</m:t>
                    </m:r>
                  </m:oMath>
                </a14:m>
                <a:r>
                  <a:rPr lang="en-US" sz="1000" b="1" kern="1200">
                    <a:solidFill>
                      <a:schemeClr val="tx1"/>
                    </a:solidFill>
                    <a:ea typeface="Tahoma"/>
                    <a:cs typeface="Tahoma"/>
                  </a:rPr>
                  <a:t>)</a:t>
                </a:r>
              </a:p>
            </p:txBody>
          </p:sp>
        </mc:Choice>
        <mc:Fallback xmlns=""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id="{335AEDAB-DBC1-6A51-B978-3785876529E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51221" y="4123413"/>
                <a:ext cx="1486186" cy="274320"/>
              </a:xfrm>
              <a:prstGeom prst="roundRect">
                <a:avLst/>
              </a:prstGeom>
              <a:blipFill>
                <a:blip r:embed="rId12"/>
                <a:stretch>
                  <a:fillRect b="-4444"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6" name="Table 46">
                <a:extLst>
                  <a:ext uri="{FF2B5EF4-FFF2-40B4-BE49-F238E27FC236}">
                    <a16:creationId xmlns:a16="http://schemas.microsoft.com/office/drawing/2014/main" id="{5D76EAE1-27ED-7C39-B63A-E2EDFC84FA80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34693306"/>
                  </p:ext>
                </p:extLst>
              </p:nvPr>
            </p:nvGraphicFramePr>
            <p:xfrm>
              <a:off x="6161327" y="877955"/>
              <a:ext cx="2518330" cy="1834219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063643">
                      <a:extLst>
                        <a:ext uri="{9D8B030D-6E8A-4147-A177-3AD203B41FA5}">
                          <a16:colId xmlns:a16="http://schemas.microsoft.com/office/drawing/2014/main" val="286775876"/>
                        </a:ext>
                      </a:extLst>
                    </a:gridCol>
                    <a:gridCol w="1454687">
                      <a:extLst>
                        <a:ext uri="{9D8B030D-6E8A-4147-A177-3AD203B41FA5}">
                          <a16:colId xmlns:a16="http://schemas.microsoft.com/office/drawing/2014/main" val="3441719397"/>
                        </a:ext>
                      </a:extLst>
                    </a:gridCol>
                  </a:tblGrid>
                  <a:tr h="22951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>
                              <a:solidFill>
                                <a:schemeClr val="bg1"/>
                              </a:solidFill>
                            </a:rPr>
                            <a:t>Parameter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4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>
                              <a:solidFill>
                                <a:schemeClr val="bg1"/>
                              </a:solidFill>
                            </a:rPr>
                            <a:t>Description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4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155869031"/>
                      </a:ext>
                    </a:extLst>
                  </a:tr>
                  <a:tr h="367221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𝜶</m:t>
                                </m:r>
                              </m:oMath>
                            </m:oMathPara>
                          </a14:m>
                          <a:endParaRPr lang="en-US" sz="1000" b="1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Pre-shock average 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422328853"/>
                      </a:ext>
                    </a:extLst>
                  </a:tr>
                  <a:tr h="435132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𝜶</m:t>
                                </m:r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𝜷</m:t>
                                </m:r>
                              </m:oMath>
                            </m:oMathPara>
                          </a14:m>
                          <a:endParaRPr lang="en-US" sz="1000" b="1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Pre-shock average non-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95229890"/>
                      </a:ext>
                    </a:extLst>
                  </a:tr>
                  <a:tr h="367221">
                    <a:tc>
                      <a:txBody>
                        <a:bodyPr/>
                        <a:lstStyle/>
                        <a:p>
                          <a:pPr marL="0" marR="0" lvl="0" indent="0" algn="l" defTabSz="342892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𝜸</m:t>
                                </m:r>
                              </m:oMath>
                            </m:oMathPara>
                          </a14:m>
                          <a:endParaRPr lang="en-US" sz="1000" b="1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Change in average 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182536669"/>
                      </a:ext>
                    </a:extLst>
                  </a:tr>
                  <a:tr h="435132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𝜸</m:t>
                                </m:r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𝜹</m:t>
                                </m:r>
                              </m:oMath>
                            </m:oMathPara>
                          </a14:m>
                          <a:endParaRPr lang="en-US" sz="1000" b="1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Change in average non-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054668809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6" name="Table 46">
                <a:extLst>
                  <a:ext uri="{FF2B5EF4-FFF2-40B4-BE49-F238E27FC236}">
                    <a16:creationId xmlns:a16="http://schemas.microsoft.com/office/drawing/2014/main" id="{5D76EAE1-27ED-7C39-B63A-E2EDFC84FA80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34693306"/>
                  </p:ext>
                </p:extLst>
              </p:nvPr>
            </p:nvGraphicFramePr>
            <p:xfrm>
              <a:off x="6161327" y="877955"/>
              <a:ext cx="2518330" cy="1834219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063643">
                      <a:extLst>
                        <a:ext uri="{9D8B030D-6E8A-4147-A177-3AD203B41FA5}">
                          <a16:colId xmlns:a16="http://schemas.microsoft.com/office/drawing/2014/main" val="286775876"/>
                        </a:ext>
                      </a:extLst>
                    </a:gridCol>
                    <a:gridCol w="1454687">
                      <a:extLst>
                        <a:ext uri="{9D8B030D-6E8A-4147-A177-3AD203B41FA5}">
                          <a16:colId xmlns:a16="http://schemas.microsoft.com/office/drawing/2014/main" val="3441719397"/>
                        </a:ext>
                      </a:extLst>
                    </a:gridCol>
                  </a:tblGrid>
                  <a:tr h="22951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>
                              <a:solidFill>
                                <a:schemeClr val="bg1"/>
                              </a:solidFill>
                            </a:rPr>
                            <a:t>Parameter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4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>
                              <a:solidFill>
                                <a:schemeClr val="bg1"/>
                              </a:solidFill>
                            </a:rPr>
                            <a:t>Description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4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155869031"/>
                      </a:ext>
                    </a:extLst>
                  </a:tr>
                  <a:tr h="367221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blipFill>
                          <a:blip r:embed="rId13"/>
                          <a:stretch>
                            <a:fillRect l="-571" t="-66667" r="-138857" b="-341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Pre-shock average 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422328853"/>
                      </a:ext>
                    </a:extLst>
                  </a:tr>
                  <a:tr h="435132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blipFill>
                          <a:blip r:embed="rId13"/>
                          <a:stretch>
                            <a:fillRect l="-571" t="-140845" r="-138857" b="-18873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Pre-shock average non-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95229890"/>
                      </a:ext>
                    </a:extLst>
                  </a:tr>
                  <a:tr h="367221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blipFill>
                          <a:blip r:embed="rId13"/>
                          <a:stretch>
                            <a:fillRect l="-571" t="-280328" r="-138857" b="-11967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Change in average 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182536669"/>
                      </a:ext>
                    </a:extLst>
                  </a:tr>
                  <a:tr h="435132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13"/>
                          <a:stretch>
                            <a:fillRect l="-571" t="-326761" r="-138857" b="-28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Change in average non-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054668809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8" name="Title 7">
            <a:extLst>
              <a:ext uri="{FF2B5EF4-FFF2-40B4-BE49-F238E27FC236}">
                <a16:creationId xmlns:a16="http://schemas.microsoft.com/office/drawing/2014/main" id="{A0D5A39C-B1D8-C63A-7653-4BCA89998DA5}"/>
              </a:ext>
            </a:extLst>
          </p:cNvPr>
          <p:cNvSpPr txBox="1">
            <a:spLocks/>
          </p:cNvSpPr>
          <p:nvPr/>
        </p:nvSpPr>
        <p:spPr>
          <a:xfrm>
            <a:off x="469610" y="0"/>
            <a:ext cx="8228801" cy="737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42892" rtl="0" eaLnBrk="1" latinLnBrk="0" hangingPunct="1">
              <a:spcBef>
                <a:spcPct val="0"/>
              </a:spcBef>
              <a:buNone/>
              <a:defRPr sz="18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apturing expected engagement and complementarity/substitutability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6AD3004-3197-7276-BD4C-C2C736E9FB35}"/>
              </a:ext>
            </a:extLst>
          </p:cNvPr>
          <p:cNvSpPr/>
          <p:nvPr/>
        </p:nvSpPr>
        <p:spPr bwMode="auto">
          <a:xfrm>
            <a:off x="462467" y="2878670"/>
            <a:ext cx="8217190" cy="285801"/>
          </a:xfrm>
          <a:prstGeom prst="rect">
            <a:avLst/>
          </a:prstGeom>
          <a:solidFill>
            <a:schemeClr val="accent4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bg1"/>
                </a:solidFill>
                <a:ea typeface="Tahoma"/>
                <a:cs typeface="Tahoma"/>
              </a:rPr>
              <a:t>Expected user engagemen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C1F341B0-6F50-4237-F27B-FDF7D30FB461}"/>
                  </a:ext>
                </a:extLst>
              </p:cNvPr>
              <p:cNvSpPr/>
              <p:nvPr/>
            </p:nvSpPr>
            <p:spPr bwMode="auto">
              <a:xfrm>
                <a:off x="3339835" y="4131013"/>
                <a:ext cx="805177" cy="259120"/>
              </a:xfrm>
              <a:prstGeom prst="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𝛼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1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𝜸</m:t>
                      </m:r>
                    </m:oMath>
                  </m:oMathPara>
                </a14:m>
                <a:endParaRPr lang="en-US" sz="1200" b="1" kern="1200">
                  <a:solidFill>
                    <a:schemeClr val="tx1"/>
                  </a:solidFill>
                  <a:ea typeface="Tahoma"/>
                  <a:cs typeface="Tahoma"/>
                </a:endParaRPr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C1F341B0-6F50-4237-F27B-FDF7D30FB46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339835" y="4131013"/>
                <a:ext cx="805177" cy="259120"/>
              </a:xfrm>
              <a:prstGeom prst="rect">
                <a:avLst/>
              </a:prstGeom>
              <a:blipFill>
                <a:blip r:embed="rId14"/>
                <a:stretch>
                  <a:fillRect b="-4762"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Oval 2">
            <a:extLst>
              <a:ext uri="{FF2B5EF4-FFF2-40B4-BE49-F238E27FC236}">
                <a16:creationId xmlns:a16="http://schemas.microsoft.com/office/drawing/2014/main" id="{AF0EEA3F-33F3-43A4-9CDA-2E899BC06C0E}"/>
              </a:ext>
            </a:extLst>
          </p:cNvPr>
          <p:cNvSpPr>
            <a:spLocks noChangeAspect="1"/>
          </p:cNvSpPr>
          <p:nvPr/>
        </p:nvSpPr>
        <p:spPr bwMode="auto">
          <a:xfrm>
            <a:off x="3757984" y="4188909"/>
            <a:ext cx="201227" cy="201227"/>
          </a:xfrm>
          <a:prstGeom prst="ellipse">
            <a:avLst/>
          </a:prstGeom>
          <a:noFill/>
          <a:ln w="9525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837D39-0B57-12FB-083E-1BF2D0359E73}"/>
              </a:ext>
            </a:extLst>
          </p:cNvPr>
          <p:cNvSpPr/>
          <p:nvPr/>
        </p:nvSpPr>
        <p:spPr bwMode="auto">
          <a:xfrm>
            <a:off x="4042431" y="4131013"/>
            <a:ext cx="1122806" cy="25912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Change in WSB engagement post-shock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86E8C71-5032-344C-EE90-775A380054BA}"/>
              </a:ext>
            </a:extLst>
          </p:cNvPr>
          <p:cNvSpPr>
            <a:spLocks noChangeAspect="1"/>
          </p:cNvSpPr>
          <p:nvPr/>
        </p:nvSpPr>
        <p:spPr bwMode="auto">
          <a:xfrm>
            <a:off x="6903435" y="4143155"/>
            <a:ext cx="434290" cy="265645"/>
          </a:xfrm>
          <a:prstGeom prst="ellipse">
            <a:avLst/>
          </a:prstGeom>
          <a:noFill/>
          <a:ln w="9525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24536866-E049-6AD6-1B0F-384486182679}"/>
                  </a:ext>
                </a:extLst>
              </p:cNvPr>
              <p:cNvSpPr/>
              <p:nvPr/>
            </p:nvSpPr>
            <p:spPr bwMode="auto">
              <a:xfrm>
                <a:off x="6296884" y="4103260"/>
                <a:ext cx="1139346" cy="314626"/>
              </a:xfrm>
              <a:prstGeom prst="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𝛼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𝛽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1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𝜸</m:t>
                      </m:r>
                      <m:r>
                        <a:rPr lang="en-US" sz="1200" b="1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1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𝜹</m:t>
                      </m:r>
                    </m:oMath>
                  </m:oMathPara>
                </a14:m>
                <a:endParaRPr lang="en-US" sz="1200" b="1" kern="1200">
                  <a:solidFill>
                    <a:schemeClr val="tx1"/>
                  </a:solidFill>
                  <a:ea typeface="Tahoma"/>
                  <a:cs typeface="Tahoma"/>
                </a:endParaRPr>
              </a:p>
            </p:txBody>
          </p:sp>
        </mc:Choice>
        <mc:Fallback xmlns=""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24536866-E049-6AD6-1B0F-38448618267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296884" y="4103260"/>
                <a:ext cx="1139346" cy="314626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Rectangle 10">
            <a:extLst>
              <a:ext uri="{FF2B5EF4-FFF2-40B4-BE49-F238E27FC236}">
                <a16:creationId xmlns:a16="http://schemas.microsoft.com/office/drawing/2014/main" id="{DD4642AD-E30E-4F5F-E510-3D9C5DA726D6}"/>
              </a:ext>
            </a:extLst>
          </p:cNvPr>
          <p:cNvSpPr/>
          <p:nvPr/>
        </p:nvSpPr>
        <p:spPr bwMode="auto">
          <a:xfrm>
            <a:off x="7405178" y="4131013"/>
            <a:ext cx="1122806" cy="25912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Change in non-WSB engagement post-shock</a:t>
            </a:r>
          </a:p>
        </p:txBody>
      </p:sp>
    </p:spTree>
    <p:extLst>
      <p:ext uri="{BB962C8B-B14F-4D97-AF65-F5344CB8AC3E}">
        <p14:creationId xmlns:p14="http://schemas.microsoft.com/office/powerpoint/2010/main" val="3118136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6990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606" imgH="608" progId="TCLayout.ActiveDocument.1">
                  <p:embed/>
                </p:oleObj>
              </mc:Choice>
              <mc:Fallback>
                <p:oleObj name="think-cell Slide" r:id="rId32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8" name="Oval 367">
            <a:extLst>
              <a:ext uri="{FF2B5EF4-FFF2-40B4-BE49-F238E27FC236}">
                <a16:creationId xmlns:a16="http://schemas.microsoft.com/office/drawing/2014/main" id="{3A132E12-6EBE-1AB0-60F3-94D9732927CD}"/>
              </a:ext>
            </a:extLst>
          </p:cNvPr>
          <p:cNvSpPr>
            <a:spLocks noChangeAspect="1"/>
          </p:cNvSpPr>
          <p:nvPr/>
        </p:nvSpPr>
        <p:spPr bwMode="auto">
          <a:xfrm>
            <a:off x="7788976" y="3420486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07BB9297-2EA9-BC1D-4EB6-6ADFF7FD66C3}"/>
              </a:ext>
            </a:extLst>
          </p:cNvPr>
          <p:cNvSpPr>
            <a:spLocks noChangeAspect="1"/>
          </p:cNvSpPr>
          <p:nvPr/>
        </p:nvSpPr>
        <p:spPr bwMode="auto">
          <a:xfrm>
            <a:off x="5001880" y="2999436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3F367640-E8D0-FF67-4B6C-5B449E653883}"/>
              </a:ext>
            </a:extLst>
          </p:cNvPr>
          <p:cNvSpPr>
            <a:spLocks noChangeAspect="1"/>
          </p:cNvSpPr>
          <p:nvPr/>
        </p:nvSpPr>
        <p:spPr bwMode="auto">
          <a:xfrm>
            <a:off x="3560941" y="2966257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292A5B41-E3B1-F280-1811-53C9B83A518D}"/>
              </a:ext>
            </a:extLst>
          </p:cNvPr>
          <p:cNvSpPr/>
          <p:nvPr/>
        </p:nvSpPr>
        <p:spPr bwMode="auto">
          <a:xfrm>
            <a:off x="4593434" y="1295400"/>
            <a:ext cx="143665" cy="2957513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he pooled results show that the shock on r/</a:t>
            </a:r>
            <a:r>
              <a:rPr lang="en-US" err="1"/>
              <a:t>wallstreetbets</a:t>
            </a:r>
            <a:r>
              <a:rPr lang="en-US"/>
              <a:t> was largely transient: engagement increased rapidly but died down quickly afte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0FECA8-D023-4F86-2868-6BB66BCA56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7</a:t>
            </a:fld>
            <a:endParaRPr lang="en-US"/>
          </a:p>
        </p:txBody>
      </p:sp>
      <p:graphicFrame>
        <p:nvGraphicFramePr>
          <p:cNvPr id="161" name="Chart 160">
            <a:extLst>
              <a:ext uri="{FF2B5EF4-FFF2-40B4-BE49-F238E27FC236}">
                <a16:creationId xmlns:a16="http://schemas.microsoft.com/office/drawing/2014/main" id="{13AF9F22-F86F-3091-FB65-649EE75AC2F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7494797"/>
              </p:ext>
            </p:extLst>
          </p:nvPr>
        </p:nvGraphicFramePr>
        <p:xfrm>
          <a:off x="663575" y="1184275"/>
          <a:ext cx="8116888" cy="3154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FB2A7EE-7BE4-5FDD-9FD9-87D3D42A5DE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08000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AFF2F5-ED4D-4D0E-8048-49567903FCF2}" type="datetime'''''Ju''l ''''''''''''''''2''''''0''''''''2''''''''''0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18D5696-02B9-C0DE-E8D7-DF018326C36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31950" y="4298950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2C7580F-93E5-41BB-92B9-288100D463BF}" type="datetime'''S''''''''e''p'''''' ''''''''''20''''2''0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803BABE1-4E3D-6535-4D71-A6DFED99D18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67013" y="4298950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47BD20-3BB9-48DB-9514-BE44C36219A3}" type="datetime'''''''''''N''''''o''''''''''''''''v 20''''2''''''''0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FFDCC642-9EA0-97FD-F936-52151C38D88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13188" y="4298950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98411C-B9FF-4EEF-A7EC-BDE3D91F9595}" type="datetime'''Jan ''''''''''''''''''''''''''''''''''20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BAB2334-B747-926C-B667-FAA7E3A8D0A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005388" y="4298950"/>
            <a:ext cx="533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4C0FD7E-09F5-4592-ABA6-69E2811C7D82}" type="datetime'''''''Mar'''''''''''''''''' 2''0''''''''''''''2''''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36613B3-A1DA-807D-4A9A-B5AF1A64121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130925" y="4298950"/>
            <a:ext cx="554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A6DA076-B9BC-45DA-AEC4-21455710A7A3}" type="datetime'''''''''M''''''a''''y'''' ''2''''0''''''2''''''''''''''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6D2F823-1FAE-41AD-0B11-562EC81D740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05675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5E3683-D1CC-4923-82F7-65454642F4E1}" type="datetime'''''J''''''''''u''''''l'''' ''''''''''2''''0''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44594039-9472-E7BF-82BD-A0C3BF30AB7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429625" y="4298950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8D072B6-69BD-44C1-ACA3-62DDB8058212}" type="datetime'''''''''S''''ep'''' ''2''''''0''''''2''''''''''''''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5C6982B6-8A5C-D225-C412-E8B8DBE58BC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5775" y="41798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3C61C9D-791E-4DA0-BCED-248B2893EBAB}" type="datetime'0''''''''.''''''''''0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000"/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7BA65766-7206-50F9-8893-00F7CFB0A6E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5775" y="38481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BC0B3A2-3277-4F1B-8206-F3843D54112E}" type="datetime'''''''''''''''''''''''0.''''''''''2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00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A646237E-7348-29D2-0B41-DA612DFADB9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5775" y="35163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C5AC930-5C12-4F58-BA6F-D4E832BDE407}" type="datetime'''0.''4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100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BEC1ECA9-53E8-0DEA-1157-7B2233D44AD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5775" y="31829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A934BFD-558E-43B0-ADBF-2795BD507717}" type="datetime'''''0''''''''''''''.''''''''''''''''''''''''''''6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000"/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5651160A-ACC6-3468-AA94-F33A16F74C2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5775" y="28511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A60D392-BC80-4248-BD59-7629228D3BDC}" type="datetime'''''''0''''.''''''8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1000"/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D855FD28-2F12-31BD-6DD1-06251289EDF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5775" y="25193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1AEF242-A7AA-47C5-8AD3-70FDEA26409A}" type="datetime'''''''1''''''''''''''''''''''''''''.''''''''0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/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2F6B02AE-7AA4-5BB0-FAAB-26B51D9E0FF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5775" y="21875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EFB0061-8A3E-492B-8444-567756D64E58}" type="datetime'1''''''''''''''''''''.''''2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100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18E561AF-4567-0DFD-4496-3786E09E426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5775" y="18542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2B5D168-3C0A-42D0-B620-3FC6987D5FBB}" type="datetime'''''1''''.''''''''''''''''4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1000"/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CCAC5785-97C7-BCD4-1923-A2D2D5CD6B5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5775" y="1522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5BB9C67-ED46-4544-928A-2ECD44957802}" type="datetime'''1''''''''''''''''''''''''''''''''''''''''''''.''''6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1000"/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4AA65F0D-788A-C0C6-4836-245782094ED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85775" y="11906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7C50965-9B57-4C41-9DA6-31CD3C570280}" type="datetime'''''''''''1''''''''''''''''''''''''.8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100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7CB36B38-2F63-1A58-A4FF-DB28D2055A1F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806450" y="1389063"/>
            <a:ext cx="2460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86E0BA6-D590-FBAD-E9DE-2DA0CC156128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806450" y="1592263"/>
            <a:ext cx="2460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517E25A-859F-0D49-4C4C-BDD737EC1C46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806450" y="1795463"/>
            <a:ext cx="2460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2" name="Oval 151">
            <a:extLst>
              <a:ext uri="{FF2B5EF4-FFF2-40B4-BE49-F238E27FC236}">
                <a16:creationId xmlns:a16="http://schemas.microsoft.com/office/drawing/2014/main" id="{36E68A30-C7DB-C709-DB0C-63A598D19DDD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90588" y="1350963"/>
            <a:ext cx="76200" cy="76200"/>
          </a:xfrm>
          <a:prstGeom prst="ellipse">
            <a:avLst/>
          </a:prstGeom>
          <a:solidFill>
            <a:srgbClr val="FF5700"/>
          </a:solidFill>
          <a:ln w="9525" cmpd="sng" algn="ctr">
            <a:solidFill>
              <a:srgbClr val="FF5700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03760D14-75BD-BCF2-72A1-E1F23F0043A0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890588" y="1554163"/>
            <a:ext cx="76200" cy="76200"/>
          </a:xfrm>
          <a:prstGeom prst="ellipse">
            <a:avLst/>
          </a:prstGeom>
          <a:solidFill>
            <a:schemeClr val="tx2"/>
          </a:solidFill>
          <a:ln w="9525" cmpd="sng" algn="ctr">
            <a:solidFill>
              <a:schemeClr val="tx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6E324DA0-1BE3-E565-AE46-D0AE5A41BA9E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890588" y="1757363"/>
            <a:ext cx="76200" cy="76200"/>
          </a:xfrm>
          <a:prstGeom prst="ellipse">
            <a:avLst/>
          </a:prstGeom>
          <a:solidFill>
            <a:schemeClr val="bg2"/>
          </a:solidFill>
          <a:ln w="9525" cmpd="sng" algn="ctr">
            <a:solidFill>
              <a:schemeClr val="bg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320A115-ED6C-2CA7-4E24-65577E9CB15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112838" y="1317625"/>
            <a:ext cx="1995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AC8296F-BDF4-42BF-B835-8CB657B214A3}" type="datetime'Mean c''o''m''m''en''ts ''''on'''' r/''w''all''st''reet''bets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100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AF5350A-E94D-9DEF-B4AA-E8F744FAE17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12838" y="1520825"/>
            <a:ext cx="22320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E8E2022-0EBA-4668-87B6-188BDC57D4F9}" type="datetime'Mean c''''omm''en''ts on all ''oth''er Sub''''''''''redd''its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100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B064B5F-0077-6259-39D3-94C095A1479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12838" y="1724025"/>
            <a:ext cx="1208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DB8E08C-2FC8-40B5-AD37-514AFF3C8A44}" type="datetime'Mea''''n'' ''t''''''''ot''''al c''om''m''e''n''''''''ts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1000"/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4BAED52D-D376-C1E3-0F7C-800F727C7E79}"/>
              </a:ext>
            </a:extLst>
          </p:cNvPr>
          <p:cNvSpPr/>
          <p:nvPr/>
        </p:nvSpPr>
        <p:spPr bwMode="auto">
          <a:xfrm>
            <a:off x="746125" y="864797"/>
            <a:ext cx="4851400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Weekly mean comments among pooled sample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Increased effect of engagement during the shocked period was transient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FA5ED18-D633-25A9-4B4C-31C9A17FCD3E}"/>
              </a:ext>
            </a:extLst>
          </p:cNvPr>
          <p:cNvCxnSpPr>
            <a:cxnSpLocks/>
            <a:stCxn id="89" idx="7"/>
          </p:cNvCxnSpPr>
          <p:nvPr/>
        </p:nvCxnSpPr>
        <p:spPr>
          <a:xfrm flipV="1">
            <a:off x="3641044" y="1582934"/>
            <a:ext cx="891018" cy="1397067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79C9FDB-0D50-EFCD-B888-6B94F2C87914}"/>
              </a:ext>
            </a:extLst>
          </p:cNvPr>
          <p:cNvCxnSpPr>
            <a:cxnSpLocks/>
            <a:stCxn id="89" idx="5"/>
          </p:cNvCxnSpPr>
          <p:nvPr/>
        </p:nvCxnSpPr>
        <p:spPr>
          <a:xfrm>
            <a:off x="3641044" y="3046360"/>
            <a:ext cx="875676" cy="301260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6EF12B50-261D-2522-E2A3-839858F16FC5}"/>
              </a:ext>
            </a:extLst>
          </p:cNvPr>
          <p:cNvSpPr/>
          <p:nvPr/>
        </p:nvSpPr>
        <p:spPr bwMode="auto">
          <a:xfrm>
            <a:off x="5212080" y="860013"/>
            <a:ext cx="3474720" cy="22935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Three takeaway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A8A8244-D60A-950A-A7A8-2997602EB243}"/>
              </a:ext>
            </a:extLst>
          </p:cNvPr>
          <p:cNvCxnSpPr>
            <a:cxnSpLocks/>
          </p:cNvCxnSpPr>
          <p:nvPr/>
        </p:nvCxnSpPr>
        <p:spPr>
          <a:xfrm>
            <a:off x="5212080" y="1089363"/>
            <a:ext cx="3474720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D78A83EC-BE63-E8BC-4D5F-267C5346BE14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169476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9259C09-3634-6749-B068-9AEAC29C8E31}"/>
              </a:ext>
            </a:extLst>
          </p:cNvPr>
          <p:cNvSpPr/>
          <p:nvPr/>
        </p:nvSpPr>
        <p:spPr bwMode="auto">
          <a:xfrm>
            <a:off x="5360509" y="1169476"/>
            <a:ext cx="3326291" cy="24533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Increased engagement during shock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64DF703A-C230-3F4D-13D1-93D5AD37CCAD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515189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2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A769AD7-898E-FAD7-9B2A-A3ADDB3B962C}"/>
              </a:ext>
            </a:extLst>
          </p:cNvPr>
          <p:cNvSpPr/>
          <p:nvPr/>
        </p:nvSpPr>
        <p:spPr bwMode="auto">
          <a:xfrm>
            <a:off x="5360509" y="1519206"/>
            <a:ext cx="3326291" cy="241322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>
                <a:solidFill>
                  <a:schemeClr val="tx1"/>
                </a:solidFill>
                <a:ea typeface="Tahoma"/>
                <a:cs typeface="Tahoma"/>
              </a:rPr>
              <a:t>No evidence of substitution or complementarity in other subreddits during the shocked period</a:t>
            </a: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94F39929-8A43-0E17-1237-609C66FDB282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860901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3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7B698C8-BE0A-4EDB-D4A3-70A4C76D4887}"/>
              </a:ext>
            </a:extLst>
          </p:cNvPr>
          <p:cNvSpPr/>
          <p:nvPr/>
        </p:nvSpPr>
        <p:spPr bwMode="auto">
          <a:xfrm>
            <a:off x="5360509" y="1860901"/>
            <a:ext cx="3326291" cy="241322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Transient effect of the shock with return back to pre-shock levels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6CFFF597-CB89-D777-C46D-43A5891C8E71}"/>
              </a:ext>
            </a:extLst>
          </p:cNvPr>
          <p:cNvSpPr>
            <a:spLocks noChangeAspect="1"/>
          </p:cNvSpPr>
          <p:nvPr/>
        </p:nvSpPr>
        <p:spPr bwMode="auto">
          <a:xfrm>
            <a:off x="3485195" y="2890511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1</a:t>
            </a:r>
          </a:p>
        </p:txBody>
      </p: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343E3D3A-5246-3915-57C3-8B8AA39F6808}"/>
              </a:ext>
            </a:extLst>
          </p:cNvPr>
          <p:cNvCxnSpPr>
            <a:cxnSpLocks/>
            <a:stCxn id="154" idx="1"/>
          </p:cNvCxnSpPr>
          <p:nvPr/>
        </p:nvCxnSpPr>
        <p:spPr>
          <a:xfrm flipH="1" flipV="1">
            <a:off x="4757738" y="2542901"/>
            <a:ext cx="257886" cy="470279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Oval 94">
            <a:extLst>
              <a:ext uri="{FF2B5EF4-FFF2-40B4-BE49-F238E27FC236}">
                <a16:creationId xmlns:a16="http://schemas.microsoft.com/office/drawing/2014/main" id="{6CD68FF5-6583-6DD8-0E03-FE2743BC4F4F}"/>
              </a:ext>
            </a:extLst>
          </p:cNvPr>
          <p:cNvSpPr>
            <a:spLocks noChangeAspect="1"/>
          </p:cNvSpPr>
          <p:nvPr/>
        </p:nvSpPr>
        <p:spPr bwMode="auto">
          <a:xfrm>
            <a:off x="4926134" y="2923690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2</a:t>
            </a:r>
            <a:endParaRPr lang="en-US" sz="12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cxnSp>
        <p:nvCxnSpPr>
          <p:cNvPr id="369" name="Straight Arrow Connector 368">
            <a:extLst>
              <a:ext uri="{FF2B5EF4-FFF2-40B4-BE49-F238E27FC236}">
                <a16:creationId xmlns:a16="http://schemas.microsoft.com/office/drawing/2014/main" id="{C3BAEE8D-198E-8D05-9340-06281BD98D88}"/>
              </a:ext>
            </a:extLst>
          </p:cNvPr>
          <p:cNvCxnSpPr>
            <a:cxnSpLocks/>
            <a:stCxn id="368" idx="1"/>
          </p:cNvCxnSpPr>
          <p:nvPr/>
        </p:nvCxnSpPr>
        <p:spPr>
          <a:xfrm flipH="1" flipV="1">
            <a:off x="7023654" y="2657332"/>
            <a:ext cx="779066" cy="776898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3" name="Straight Arrow Connector 372">
            <a:extLst>
              <a:ext uri="{FF2B5EF4-FFF2-40B4-BE49-F238E27FC236}">
                <a16:creationId xmlns:a16="http://schemas.microsoft.com/office/drawing/2014/main" id="{C8844D10-1440-D3F9-C2F9-755AD16E30E5}"/>
              </a:ext>
            </a:extLst>
          </p:cNvPr>
          <p:cNvCxnSpPr>
            <a:cxnSpLocks/>
            <a:stCxn id="368" idx="3"/>
          </p:cNvCxnSpPr>
          <p:nvPr/>
        </p:nvCxnSpPr>
        <p:spPr>
          <a:xfrm flipH="1">
            <a:off x="7131844" y="3500589"/>
            <a:ext cx="670876" cy="590399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4" name="Oval 323">
            <a:extLst>
              <a:ext uri="{FF2B5EF4-FFF2-40B4-BE49-F238E27FC236}">
                <a16:creationId xmlns:a16="http://schemas.microsoft.com/office/drawing/2014/main" id="{44E5E052-30D7-6E5A-13D9-4105D0555B08}"/>
              </a:ext>
            </a:extLst>
          </p:cNvPr>
          <p:cNvSpPr>
            <a:spLocks noChangeAspect="1"/>
          </p:cNvSpPr>
          <p:nvPr/>
        </p:nvSpPr>
        <p:spPr bwMode="auto">
          <a:xfrm>
            <a:off x="7713230" y="3344740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3</a:t>
            </a:r>
          </a:p>
        </p:txBody>
      </p:sp>
      <p:sp>
        <p:nvSpPr>
          <p:cNvPr id="530" name="Rectangle 529">
            <a:extLst>
              <a:ext uri="{FF2B5EF4-FFF2-40B4-BE49-F238E27FC236}">
                <a16:creationId xmlns:a16="http://schemas.microsoft.com/office/drawing/2014/main" id="{083E2D10-FF51-5914-BAB1-1D735A01966F}"/>
              </a:ext>
            </a:extLst>
          </p:cNvPr>
          <p:cNvSpPr/>
          <p:nvPr/>
        </p:nvSpPr>
        <p:spPr bwMode="auto">
          <a:xfrm rot="16200000">
            <a:off x="-1243074" y="2609127"/>
            <a:ext cx="3008047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Mean number of comments per user per day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227070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8" grpId="0" animBg="1"/>
      <p:bldP spid="154" grpId="0" animBg="1"/>
      <p:bldP spid="89" grpId="0" animBg="1"/>
      <p:bldP spid="23" grpId="0" animBg="1"/>
      <p:bldP spid="24" grpId="0"/>
      <p:bldP spid="75" grpId="0" animBg="1"/>
      <p:bldP spid="76" grpId="0"/>
      <p:bldP spid="77" grpId="0" animBg="1"/>
      <p:bldP spid="78" grpId="0"/>
      <p:bldP spid="82" grpId="0" animBg="1"/>
      <p:bldP spid="95" grpId="0" animBg="1"/>
      <p:bldP spid="32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8411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606" imgH="608" progId="TCLayout.ActiveDocument.1">
                  <p:embed/>
                </p:oleObj>
              </mc:Choice>
              <mc:Fallback>
                <p:oleObj name="think-cell Slide" r:id="rId74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1" name="Rectangle 420">
            <a:extLst>
              <a:ext uri="{FF2B5EF4-FFF2-40B4-BE49-F238E27FC236}">
                <a16:creationId xmlns:a16="http://schemas.microsoft.com/office/drawing/2014/main" id="{7B415461-9370-799C-EBEC-331EEAFF71F5}"/>
              </a:ext>
            </a:extLst>
          </p:cNvPr>
          <p:cNvSpPr/>
          <p:nvPr/>
        </p:nvSpPr>
        <p:spPr bwMode="auto">
          <a:xfrm>
            <a:off x="6823075" y="3172666"/>
            <a:ext cx="8832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33EDC085-C3CA-24F2-0636-A0994D4FCB99}"/>
              </a:ext>
            </a:extLst>
          </p:cNvPr>
          <p:cNvSpPr/>
          <p:nvPr/>
        </p:nvSpPr>
        <p:spPr bwMode="auto">
          <a:xfrm>
            <a:off x="2482391" y="3172666"/>
            <a:ext cx="8029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B4A463EC-B1D9-1C8F-07A2-9832E6E6EA72}"/>
              </a:ext>
            </a:extLst>
          </p:cNvPr>
          <p:cNvSpPr/>
          <p:nvPr/>
        </p:nvSpPr>
        <p:spPr bwMode="auto">
          <a:xfrm>
            <a:off x="6835250" y="1238249"/>
            <a:ext cx="8832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17" name="Rectangle 416">
            <a:extLst>
              <a:ext uri="{FF2B5EF4-FFF2-40B4-BE49-F238E27FC236}">
                <a16:creationId xmlns:a16="http://schemas.microsoft.com/office/drawing/2014/main" id="{38CF88C3-20FE-0641-5F5D-251D4C19E89A}"/>
              </a:ext>
            </a:extLst>
          </p:cNvPr>
          <p:cNvSpPr/>
          <p:nvPr/>
        </p:nvSpPr>
        <p:spPr bwMode="auto">
          <a:xfrm>
            <a:off x="2482391" y="1238249"/>
            <a:ext cx="8029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lthough an interesting pattern emerges when splitting users by their pre-shock levels of engagement…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0FECA8-D023-4F86-2868-6BB66BCA56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sz="7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8</a:t>
            </a:fld>
            <a:endParaRPr lang="en-US"/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0DE5DB38-8CE8-2C13-7FEC-C35DD8FEBC8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000066"/>
              </p:ext>
            </p:extLst>
          </p:nvPr>
        </p:nvGraphicFramePr>
        <p:xfrm>
          <a:off x="641350" y="1155700"/>
          <a:ext cx="3794125" cy="1433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426" name="Text Placeholder 2">
            <a:extLst>
              <a:ext uri="{FF2B5EF4-FFF2-40B4-BE49-F238E27FC236}">
                <a16:creationId xmlns:a16="http://schemas.microsoft.com/office/drawing/2014/main" id="{5604DFBE-E619-E247-F08B-41CC791C380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30225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678F66-C71C-422E-8AA2-1928BA55B50D}" type="datetime'''''''''''J''''''''u''''l ''''2''0''''''''''''20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4" name="Text Placeholder 2">
            <a:extLst>
              <a:ext uri="{FF2B5EF4-FFF2-40B4-BE49-F238E27FC236}">
                <a16:creationId xmlns:a16="http://schemas.microsoft.com/office/drawing/2014/main" id="{983E6E5C-9AA8-0C91-C72B-9AEE103B13E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31875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648309-274D-4066-A894-4951BE9685E1}" type="datetime'''''''''Se''p'''''''''''''''''''' 2''''0''''''''''''''''20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5" name="Text Placeholder 2">
            <a:extLst>
              <a:ext uri="{FF2B5EF4-FFF2-40B4-BE49-F238E27FC236}">
                <a16:creationId xmlns:a16="http://schemas.microsoft.com/office/drawing/2014/main" id="{E4B5D6A2-31E6-57FB-9A49-2E87648BC56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549400" y="254000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8814FF9-1338-45E1-A932-759074277CD0}" type="datetime'''''N''''''''ov'''' ''''''''2''''0''''''2''''''''''0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C18B0A06-29F3-2C0F-A4CE-6717F70230C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076451" y="254000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5AD8D6-7145-4FC6-B93A-7B2A1725ABB7}" type="datetime'''''''''''J''a''n'' ''2''0''21''''''''''''''''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6" name="Text Placeholder 2">
            <a:extLst>
              <a:ext uri="{FF2B5EF4-FFF2-40B4-BE49-F238E27FC236}">
                <a16:creationId xmlns:a16="http://schemas.microsoft.com/office/drawing/2014/main" id="{B180C832-2505-9482-D4BB-A79A8293FA6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573338" y="254000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9922FD-F5EB-4557-924B-7E4431E889EE}" type="datetime'M''''a''''''''''''''''''''''''r ''''''2''''0''2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7" name="Text Placeholder 2">
            <a:extLst>
              <a:ext uri="{FF2B5EF4-FFF2-40B4-BE49-F238E27FC236}">
                <a16:creationId xmlns:a16="http://schemas.microsoft.com/office/drawing/2014/main" id="{D1589F5E-88D8-8A78-0C91-320EF334B08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084513" y="254000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3F6DBA-895F-4599-A2C3-7C25BCAC7AA2}" type="datetime'''''''''''M''''ay'''''''''''''''''''' 2''''''0''''''''2''1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30" name="Text Placeholder 2">
            <a:extLst>
              <a:ext uri="{FF2B5EF4-FFF2-40B4-BE49-F238E27FC236}">
                <a16:creationId xmlns:a16="http://schemas.microsoft.com/office/drawing/2014/main" id="{783C4337-4F04-2E6D-4CB8-89E59A40D30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632200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57CFE30-9F9D-4A76-BDB9-CC31BC527998}" type="datetime'''''''''J''''u''''l'''''''' 2''0''''''''''''''''2''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8" name="Text Placeholder 2">
            <a:extLst>
              <a:ext uri="{FF2B5EF4-FFF2-40B4-BE49-F238E27FC236}">
                <a16:creationId xmlns:a16="http://schemas.microsoft.com/office/drawing/2014/main" id="{5457FBFC-16F0-8D4D-D92C-2F8F3C1CFED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133850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30DB511-DDF5-4092-974D-6AB23AB745B7}" type="datetime'''''''''S''e''''p'''''''''''' ''2''''''''0''2''''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1CD5682-5FE1-914D-4BC8-D8F6B12D837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14350" y="244633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0686C22-513A-48C5-87BA-9766F95BFC87}" type="datetime'''''''''''''''''''''''''0''''''.''''''''''''''''''''''0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845A5E2B-872A-0E2E-D1BD-DF151926094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14350" y="22653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F13EBB3-A522-448B-8131-E7F3F6495DC0}" type="datetime'''''0''''''''''''''''''.''''1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80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19459395-AA44-5A78-7E7A-C81C8858808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14350" y="20843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2F60370-6E49-47A6-A195-B5A53A01360F}" type="datetime'''''''''''''''''0''''''.''''2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3864B35D-B216-8576-15B2-3A22E4A6011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14350" y="190341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1181B06-1FCF-423D-9E78-14BCD97B422A}" type="datetime'''''''''''''''''''''0''.''3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80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3410029A-DDF0-FC83-44CF-12AEDA8DF23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14350" y="17208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302AAB-D9D6-4D3D-85E8-D261BB6E24AA}" type="datetime'''''''''''''''''0.4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310" name="Text Placeholder 2">
            <a:extLst>
              <a:ext uri="{FF2B5EF4-FFF2-40B4-BE49-F238E27FC236}">
                <a16:creationId xmlns:a16="http://schemas.microsoft.com/office/drawing/2014/main" id="{B0438354-8E0F-8B88-16A2-7A230916FC6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14350" y="153987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BFB2781-9174-4AF6-981F-79EEDC2AC768}" type="datetime'''0''''''''''.''''''''''''''''''''''''''''''5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800"/>
          </a:p>
        </p:txBody>
      </p:sp>
      <p:sp>
        <p:nvSpPr>
          <p:cNvPr id="311" name="Text Placeholder 2">
            <a:extLst>
              <a:ext uri="{FF2B5EF4-FFF2-40B4-BE49-F238E27FC236}">
                <a16:creationId xmlns:a16="http://schemas.microsoft.com/office/drawing/2014/main" id="{00160A23-DB4C-00D4-D0D2-6FB6BEE781D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14350" y="13589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9797FF3-E080-4DD8-A05A-87801ABE3810}" type="datetime'''''0.''''''''''''6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26DACE6-D7FA-17FD-6C31-1F40FB4777C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14350" y="1177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9033DA6-A5DB-472F-8D07-9D5C8E109686}" type="datetime'0''.''''''''''''''7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endParaRPr lang="en-US" sz="80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FE2138D-C7EB-9792-7C63-1877D685463D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5122863" y="4737100"/>
            <a:ext cx="1063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0762FA7-D011-1A22-486D-5F9150FA1C9C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5122863" y="4894263"/>
            <a:ext cx="1063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87B1BA2-DCD9-F205-26B8-A086AA5F9F3E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5122863" y="5051425"/>
            <a:ext cx="1063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DE4721E-799A-589C-1A6C-EE554155D39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289550" y="4687888"/>
            <a:ext cx="14065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492D2A7-073C-474A-8D2D-698CE3A25356}" type="datetime'Me''an'' comm''ent''s'' o''n ''r/wa''''''lls''t''reet''bet''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70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3355C5A-7D97-0DB9-3562-17A0256AEB0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289550" y="4845050"/>
            <a:ext cx="15589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31DE5A7-2F8F-48EE-92B9-04CDB8651F96}" type="datetime'Mean com''m''ent''s on a''''ll ot''''h''er s''u''b''reddi''t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70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0EFBC88-36B4-0CDD-A492-1628ACF06FB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289550" y="5002213"/>
            <a:ext cx="85248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169B7AA-DFE2-4FC7-A71A-D7E4C8A7DAE2}" type="datetime'Me''''''a''''n ''''tot''al'''' ''com''m''''e''''''nt''''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700"/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376D8AB5-9E4E-2524-0662-3314BD102E77}"/>
              </a:ext>
            </a:extLst>
          </p:cNvPr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213204376"/>
              </p:ext>
            </p:extLst>
          </p:nvPr>
        </p:nvGraphicFramePr>
        <p:xfrm>
          <a:off x="641350" y="3090863"/>
          <a:ext cx="3794125" cy="143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7"/>
          </a:graphicData>
        </a:graphic>
      </p:graphicFrame>
      <p:sp>
        <p:nvSpPr>
          <p:cNvPr id="228" name="Text Placeholder 2">
            <a:extLst>
              <a:ext uri="{FF2B5EF4-FFF2-40B4-BE49-F238E27FC236}">
                <a16:creationId xmlns:a16="http://schemas.microsoft.com/office/drawing/2014/main" id="{6437AD97-57B6-BBF9-73F8-585BB5B4303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30225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30EA3F-A8A1-4171-B568-50195B502D14}" type="datetime'''''''''J''''''u''''l'' ''''''20''''''''''''2''''0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1809A279-050E-86F5-AE6A-E73FC384501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31875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9A9B4A9-0BE1-448D-ADD6-99A6FCD2AF47}" type="datetime'''''''''''''''S''''''''''''''''''ep'''' ''202''''''''''''0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/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00D65548-2365-7720-9A60-6E3898246EC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549400" y="447675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FD7CDE-04CF-4935-94BC-06109287F67A}" type="datetime'''No''v'' 2''''''''02''0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E8CA8CC0-ACFE-1D9C-AADD-A14B1E1FB6B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076450" y="447675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BAE0888-8FDB-40F5-AAA8-97E241DBF2A1}" type="datetime'''''''J''''''''''''''an'''' ''''2''0''''''''2''''''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B52DB031-8FB4-9856-CB66-574BF1D747E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573338" y="447675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499CE4A-3C32-44BE-A52A-4D0AC83CDA8D}" type="datetime'''''''''Ma''''r ''''2''''''''''''''''''''''''''0''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AE32E267-54DB-1445-6657-3AC1BAC2486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084513" y="447675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470D8B7-1F00-4559-86F3-F4B2F7F43817}" type="datetime'''''''''''M''''''a''''y'' ''''2''''0''''2''''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230" name="Text Placeholder 2">
            <a:extLst>
              <a:ext uri="{FF2B5EF4-FFF2-40B4-BE49-F238E27FC236}">
                <a16:creationId xmlns:a16="http://schemas.microsoft.com/office/drawing/2014/main" id="{C306D033-ABF4-CA3C-67FD-9FD8CDAF398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632200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0B08D2D-1C53-4657-AB43-3F29C905974E}" type="datetime'''''J''''u''''l'''''' 2''''''''0''''''''''''2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F74EE02A-B9AD-0398-54BF-525B1283765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133850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8534EA-993D-4412-8D41-141F035187CA}" type="datetime'''''''''''''''''''''''Se''p'''''' 2''''''''''''0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/>
          </a:p>
        </p:txBody>
      </p:sp>
      <p:sp>
        <p:nvSpPr>
          <p:cNvPr id="231" name="Text Placeholder 2">
            <a:extLst>
              <a:ext uri="{FF2B5EF4-FFF2-40B4-BE49-F238E27FC236}">
                <a16:creationId xmlns:a16="http://schemas.microsoft.com/office/drawing/2014/main" id="{0775AFD1-D2AF-AFB5-2585-1325276C2EE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14350" y="43830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037F6BD-0F31-4711-AD5D-98787367D329}" type="datetime'''0''''''''''.''''''0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368" name="Text Placeholder 2">
            <a:extLst>
              <a:ext uri="{FF2B5EF4-FFF2-40B4-BE49-F238E27FC236}">
                <a16:creationId xmlns:a16="http://schemas.microsoft.com/office/drawing/2014/main" id="{7D4A2BB5-7AE7-45AB-FDCA-AA43A0C2308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14350" y="41719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2BDC40B-2EE8-48ED-8E2B-E8D0559D551E}" type="datetime'''0''''''''''''''.''''''''''''''2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369" name="Text Placeholder 2">
            <a:extLst>
              <a:ext uri="{FF2B5EF4-FFF2-40B4-BE49-F238E27FC236}">
                <a16:creationId xmlns:a16="http://schemas.microsoft.com/office/drawing/2014/main" id="{8BD5DAA7-38D6-F2CB-90FB-C37278F90ED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14350" y="39592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5E20919-EFF1-476A-A6BB-3FCAF919656C}" type="datetime'''''0''''''''''''''.''''''''4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370" name="Text Placeholder 2">
            <a:extLst>
              <a:ext uri="{FF2B5EF4-FFF2-40B4-BE49-F238E27FC236}">
                <a16:creationId xmlns:a16="http://schemas.microsoft.com/office/drawing/2014/main" id="{BE9A1933-41FB-6702-AA0A-CC7D0E5C701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14350" y="37480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0CF3045-62BD-4524-9C59-A54EC3B1C30D}" type="datetime'''0''''''''''''''''''.''''6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371" name="Text Placeholder 2">
            <a:extLst>
              <a:ext uri="{FF2B5EF4-FFF2-40B4-BE49-F238E27FC236}">
                <a16:creationId xmlns:a16="http://schemas.microsoft.com/office/drawing/2014/main" id="{D80C7C63-9F83-E39D-A00D-AB370E370513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14350" y="35369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0C24102-7A7E-47B4-A049-AA9E6888BD56}" type="datetime'''''''''''''''''''0''''''''''.''''''''''8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800"/>
          </a:p>
        </p:txBody>
      </p:sp>
      <p:sp>
        <p:nvSpPr>
          <p:cNvPr id="232" name="Text Placeholder 2">
            <a:extLst>
              <a:ext uri="{FF2B5EF4-FFF2-40B4-BE49-F238E27FC236}">
                <a16:creationId xmlns:a16="http://schemas.microsoft.com/office/drawing/2014/main" id="{7990EDB3-76E8-6A1E-E1B9-FBB6FBAB5792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14350" y="33242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E08AB93-9CDC-4B0E-AC8B-B022E1D17D98}" type="datetime'''''''''''1''''''''''.''''0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800"/>
          </a:p>
        </p:txBody>
      </p:sp>
      <p:sp>
        <p:nvSpPr>
          <p:cNvPr id="372" name="Text Placeholder 2">
            <a:extLst>
              <a:ext uri="{FF2B5EF4-FFF2-40B4-BE49-F238E27FC236}">
                <a16:creationId xmlns:a16="http://schemas.microsoft.com/office/drawing/2014/main" id="{DB77BD72-A361-6F47-F53A-B844933581E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14350" y="31130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D136FDB-5949-4BEA-A97C-34B3E0F4AAA9}" type="datetime'''''''''''''''''1''''''''''''''''.''''2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800"/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4E40B5C5-DBA7-1C97-6443-EE300C74F7B9}"/>
              </a:ext>
            </a:extLst>
          </p:cNvPr>
          <p:cNvGraphicFramePr/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621034235"/>
              </p:ext>
            </p:extLst>
          </p:nvPr>
        </p:nvGraphicFramePr>
        <p:xfrm>
          <a:off x="4995863" y="1155700"/>
          <a:ext cx="3784600" cy="1433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8"/>
          </a:graphicData>
        </a:graphic>
      </p:graphicFrame>
      <p:sp>
        <p:nvSpPr>
          <p:cNvPr id="434" name="Text Placeholder 2">
            <a:extLst>
              <a:ext uri="{FF2B5EF4-FFF2-40B4-BE49-F238E27FC236}">
                <a16:creationId xmlns:a16="http://schemas.microsoft.com/office/drawing/2014/main" id="{FCD425EC-415B-A8BD-6D81-F7224EB0BBB3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884738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D293DC6-BB79-49BF-AD7D-68B0281E351B}" type="datetime'''''Ju''''''''''''''''''''l ''''2''''''''''''0''2''''''''''0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3" name="Text Placeholder 2">
            <a:extLst>
              <a:ext uri="{FF2B5EF4-FFF2-40B4-BE49-F238E27FC236}">
                <a16:creationId xmlns:a16="http://schemas.microsoft.com/office/drawing/2014/main" id="{4F69A1F5-B827-AB50-8180-6A78981859C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384800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E5FC86A-E8F7-459E-B2BD-E838FC226085}" type="datetime'''''S''''''''e''p'''' 2''02''0''''''''''''''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4" name="Text Placeholder 2">
            <a:extLst>
              <a:ext uri="{FF2B5EF4-FFF2-40B4-BE49-F238E27FC236}">
                <a16:creationId xmlns:a16="http://schemas.microsoft.com/office/drawing/2014/main" id="{3905270A-ED49-047A-5C3F-1DF33C800607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902325" y="254000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358792E-FF2C-414B-8EA9-CDC9E9B1382E}" type="datetime'''''''''''''''''Nov'' ''''202''0''''''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36" name="Text Placeholder 2">
            <a:extLst>
              <a:ext uri="{FF2B5EF4-FFF2-40B4-BE49-F238E27FC236}">
                <a16:creationId xmlns:a16="http://schemas.microsoft.com/office/drawing/2014/main" id="{27B199DE-3C52-FD3B-2006-988F2D384990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426201" y="254000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909F857-A0E1-4213-8CCB-BB368D0DB65D}" type="datetime'''''''''''J''a''''''n'' ''2''''''''''0''''''''2''1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5" name="Text Placeholder 2">
            <a:extLst>
              <a:ext uri="{FF2B5EF4-FFF2-40B4-BE49-F238E27FC236}">
                <a16:creationId xmlns:a16="http://schemas.microsoft.com/office/drawing/2014/main" id="{23E9B25C-BC89-28D6-498B-AC80A801083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923088" y="254000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8D26020-A1BB-45A6-AD74-93665A479EE8}" type="datetime'''''''''M''''''a''''''r'''''''''' 20''''''''''2''''1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6" name="Text Placeholder 2">
            <a:extLst>
              <a:ext uri="{FF2B5EF4-FFF2-40B4-BE49-F238E27FC236}">
                <a16:creationId xmlns:a16="http://schemas.microsoft.com/office/drawing/2014/main" id="{E294A5BF-6880-FE4C-1EFD-9494468CA025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431088" y="254000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8691D8-2957-411C-B77F-A9175E0338AC}" type="datetime'''''''''''''''''''''M''''''a''''''''y 20''''''2''''''''1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38" name="Text Placeholder 2">
            <a:extLst>
              <a:ext uri="{FF2B5EF4-FFF2-40B4-BE49-F238E27FC236}">
                <a16:creationId xmlns:a16="http://schemas.microsoft.com/office/drawing/2014/main" id="{40693570-8066-5C81-AD60-9FFF4A73CE4D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978775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8F840C-96E1-49BD-AD94-5A91CDC4A9B4}" type="datetime'''''Ju''''''''''l'' ''''''''''''''''''''''2''''''''''0''21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7" name="Text Placeholder 2">
            <a:extLst>
              <a:ext uri="{FF2B5EF4-FFF2-40B4-BE49-F238E27FC236}">
                <a16:creationId xmlns:a16="http://schemas.microsoft.com/office/drawing/2014/main" id="{3963EC8F-C569-F015-CC6C-1FB9F7D37A54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8478838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557951F-1803-4F8C-8112-BFE83F59C8D9}" type="datetime'''''''S''''ep ''''''''''''2''''''''''02''''''''''1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252" name="Text Placeholder 2">
            <a:extLst>
              <a:ext uri="{FF2B5EF4-FFF2-40B4-BE49-F238E27FC236}">
                <a16:creationId xmlns:a16="http://schemas.microsoft.com/office/drawing/2014/main" id="{F87AA7FD-5C98-A9DF-9C04-247B385F9E1A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868863" y="244633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ADB56E1-2A1A-4FA9-86C1-070F64C0ACAF}" type="datetime'0.''''0''''''''''''''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302" name="Text Placeholder 2">
            <a:extLst>
              <a:ext uri="{FF2B5EF4-FFF2-40B4-BE49-F238E27FC236}">
                <a16:creationId xmlns:a16="http://schemas.microsoft.com/office/drawing/2014/main" id="{CF69959A-B89B-3B78-EC9E-696CBA542A7A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868863" y="22653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7C5311D-A9BA-4C29-8943-8FC7CDB5C4F0}" type="datetime'''''''''''0''''.''''''''1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800"/>
          </a:p>
        </p:txBody>
      </p:sp>
      <p:sp>
        <p:nvSpPr>
          <p:cNvPr id="303" name="Text Placeholder 2">
            <a:extLst>
              <a:ext uri="{FF2B5EF4-FFF2-40B4-BE49-F238E27FC236}">
                <a16:creationId xmlns:a16="http://schemas.microsoft.com/office/drawing/2014/main" id="{570D93E2-09A8-6904-5C8D-37CD51E3AE14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4868863" y="20843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EDA03B6-9BEA-442B-9D7D-4ABC9892B792}" type="datetime'''0.''''''''''''''''2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304" name="Text Placeholder 2">
            <a:extLst>
              <a:ext uri="{FF2B5EF4-FFF2-40B4-BE49-F238E27FC236}">
                <a16:creationId xmlns:a16="http://schemas.microsoft.com/office/drawing/2014/main" id="{6BDCB979-5E2E-AA1B-98F0-E59DBCA318F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4868863" y="190341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0E74269-FFEF-49D8-867C-A4F0444FE619}" type="datetime'''''''''''''''''''''''''0''.''''''''''''''3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800"/>
          </a:p>
        </p:txBody>
      </p:sp>
      <p:sp>
        <p:nvSpPr>
          <p:cNvPr id="305" name="Text Placeholder 2">
            <a:extLst>
              <a:ext uri="{FF2B5EF4-FFF2-40B4-BE49-F238E27FC236}">
                <a16:creationId xmlns:a16="http://schemas.microsoft.com/office/drawing/2014/main" id="{BF1BB57B-DB98-A841-A035-070E8962E6EF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4868863" y="17208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A06BC40-0114-4A35-85D8-D282111B9656}" type="datetime'0''''''''''''.''''''4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306" name="Text Placeholder 2">
            <a:extLst>
              <a:ext uri="{FF2B5EF4-FFF2-40B4-BE49-F238E27FC236}">
                <a16:creationId xmlns:a16="http://schemas.microsoft.com/office/drawing/2014/main" id="{11E621AA-E616-B30C-403D-CBBA4F3AF1FD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4868863" y="153987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A15CB47-1231-437C-BF50-0FC068684269}" type="datetime'''0''''''''''''''''''''''''.''''''''''''''''''''5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800"/>
          </a:p>
        </p:txBody>
      </p:sp>
      <p:sp>
        <p:nvSpPr>
          <p:cNvPr id="307" name="Text Placeholder 2">
            <a:extLst>
              <a:ext uri="{FF2B5EF4-FFF2-40B4-BE49-F238E27FC236}">
                <a16:creationId xmlns:a16="http://schemas.microsoft.com/office/drawing/2014/main" id="{C4D36013-D891-CA1D-3452-B005F8E5A3BF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4868863" y="13589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DE2674F-F562-49F2-8F3F-0D52EFEBE8FD}" type="datetime'''''''0.''''6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2FCAC3F-2764-36D0-FBC2-C87C2BC77B26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4868863" y="1177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48B1E2C-33B7-4E0F-BFAD-0232F8C091DE}" type="datetime'''0''''''''''''''''''''''''''''''.''''''''''''''''''7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endParaRPr lang="en-US" sz="800"/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86DCAB0-1434-EBAE-642B-CBFAC107D198}"/>
              </a:ext>
            </a:extLst>
          </p:cNvPr>
          <p:cNvGraphicFramePr/>
          <p:nvPr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3442886283"/>
              </p:ext>
            </p:extLst>
          </p:nvPr>
        </p:nvGraphicFramePr>
        <p:xfrm>
          <a:off x="4995863" y="3090863"/>
          <a:ext cx="3784600" cy="143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9"/>
          </a:graphicData>
        </a:graphic>
      </p:graphicFrame>
      <p:sp>
        <p:nvSpPr>
          <p:cNvPr id="273" name="Text Placeholder 2">
            <a:extLst>
              <a:ext uri="{FF2B5EF4-FFF2-40B4-BE49-F238E27FC236}">
                <a16:creationId xmlns:a16="http://schemas.microsoft.com/office/drawing/2014/main" id="{2B175772-B8D9-6B06-7A48-2C578453B3A8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4884738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CB752BC-32DF-485C-9532-1C7E3C38A3B7}" type="datetime'''''J''''''''''''''''''u''''''l ''''''''''20''''''2''''0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376294ED-6778-828A-2560-B353478D19E7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5384800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837FBD-B5ED-400B-8ECA-DE5362C16C0E}" type="datetime'''''''S''''''e''''''''p'''' ''''''20''''2''''''''''0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/>
          </a:p>
        </p:txBody>
      </p:sp>
      <p:sp>
        <p:nvSpPr>
          <p:cNvPr id="275" name="Text Placeholder 2">
            <a:extLst>
              <a:ext uri="{FF2B5EF4-FFF2-40B4-BE49-F238E27FC236}">
                <a16:creationId xmlns:a16="http://schemas.microsoft.com/office/drawing/2014/main" id="{FFDA9093-970D-A837-A451-36F06D35C1F7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5902325" y="447675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2C1EA81-C716-4BF1-A466-197D7735E0F2}" type="datetime'''N''''''''''ov'''''''' ''''''''''2''''02''0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0267CC05-976E-802A-1830-2ADEE9704938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6426200" y="447675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716041-5023-4FC4-9D15-B687113FC962}" type="datetime'J''a''''''n'''''' ''''2''''''0''2''1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FA48C7F0-25CB-90FE-E2B3-9C1E71D8C886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6923088" y="447675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27D174-6CD9-4F76-A709-C881EC4C8FB3}" type="datetime'M''a''''''''''''''''r'' ''''''''''2''''0''''2''1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AE8F4BC0-2EFC-67A7-EA4D-7E1C012DFD4A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7431088" y="447675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ACDE844-1A76-4400-945E-6B365BD7E6B5}" type="datetime'''''M''''''''''a''''''''''''''''''''y'''' ''''20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C08CFAD9-413C-4754-458C-926D5290598B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7978775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FE14A18-3D5F-43BE-9891-C9F309695B26}" type="datetime'''''''''''J''''''''ul'''''' ''''''''''''''''''''20''''''''2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69608EC6-7539-7E55-84E0-AF5ED2BE3FB4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8478838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D464AF-E17C-4CFD-9FAE-755A0E08D53C}" type="datetime'''Se''''''p'''''''''' ''''''''2''''''''0''''''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/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34A25998-5D64-9DAF-79EA-E2C1C9F3FF05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4954588" y="438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2587E0C-B82C-40D4-9AA1-5EB7C788EFF7}" type="datetime'''''''''''''''''''''''''''''''''''0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800"/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1A7756BF-8580-9B46-F7DB-79BE6AF68DB5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4954588" y="4129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813102C-B41D-46F7-B870-D136F61B4BFA}" type="datetime'''''''''''''''''''''''''''''''''''''1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80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F6C429F4-5E68-050D-05FB-0818F47EB682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4954588" y="3875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42F7AE5-1624-418C-97F2-25A5A9271631}" type="datetime'''''''''''''2''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800"/>
          </a:p>
        </p:txBody>
      </p:sp>
      <p:sp>
        <p:nvSpPr>
          <p:cNvPr id="284" name="Text Placeholder 2">
            <a:extLst>
              <a:ext uri="{FF2B5EF4-FFF2-40B4-BE49-F238E27FC236}">
                <a16:creationId xmlns:a16="http://schemas.microsoft.com/office/drawing/2014/main" id="{55B41BFF-235C-6470-D330-C7B90286DEC0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4954588" y="3621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15DBD26-D83B-4734-B02C-B1F74A05399C}" type="datetime'3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800"/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FFE01EAE-13BF-1707-F530-E87D18CA3318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4954588" y="3367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4086B75-7837-4F2F-A693-A46C37399743}" type="datetime'''''''''''''''''4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80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EB3B2FE-C0FB-8944-5C82-2BCDA1043939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4954588" y="311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027B879-5417-4213-87CC-8598AAE146D2}" type="datetime'''''5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800"/>
          </a:p>
        </p:txBody>
      </p:sp>
      <p:sp>
        <p:nvSpPr>
          <p:cNvPr id="403" name="Rectangle 402">
            <a:extLst>
              <a:ext uri="{FF2B5EF4-FFF2-40B4-BE49-F238E27FC236}">
                <a16:creationId xmlns:a16="http://schemas.microsoft.com/office/drawing/2014/main" id="{6F1B779C-4AF3-26CC-F848-0456F00384B3}"/>
              </a:ext>
            </a:extLst>
          </p:cNvPr>
          <p:cNvSpPr/>
          <p:nvPr/>
        </p:nvSpPr>
        <p:spPr bwMode="auto">
          <a:xfrm>
            <a:off x="720104" y="846159"/>
            <a:ext cx="3623296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Quartile #1: Significant increase in engagement post-shock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Least-engaged pre-shock users</a:t>
            </a:r>
          </a:p>
        </p:txBody>
      </p:sp>
      <p:sp>
        <p:nvSpPr>
          <p:cNvPr id="409" name="Rectangle 408">
            <a:extLst>
              <a:ext uri="{FF2B5EF4-FFF2-40B4-BE49-F238E27FC236}">
                <a16:creationId xmlns:a16="http://schemas.microsoft.com/office/drawing/2014/main" id="{05EF062A-6AC3-81D2-901C-FA180F5580F2}"/>
              </a:ext>
            </a:extLst>
          </p:cNvPr>
          <p:cNvSpPr/>
          <p:nvPr/>
        </p:nvSpPr>
        <p:spPr bwMode="auto">
          <a:xfrm>
            <a:off x="5078413" y="846159"/>
            <a:ext cx="3608387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Quartile #2: Increase and complementary engagement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Less engaged pre-shock users</a:t>
            </a:r>
          </a:p>
        </p:txBody>
      </p:sp>
      <p:sp>
        <p:nvSpPr>
          <p:cNvPr id="413" name="Rectangle 412">
            <a:extLst>
              <a:ext uri="{FF2B5EF4-FFF2-40B4-BE49-F238E27FC236}">
                <a16:creationId xmlns:a16="http://schemas.microsoft.com/office/drawing/2014/main" id="{BAF09503-314F-338B-E59E-D39CF1395895}"/>
              </a:ext>
            </a:extLst>
          </p:cNvPr>
          <p:cNvSpPr/>
          <p:nvPr/>
        </p:nvSpPr>
        <p:spPr bwMode="auto">
          <a:xfrm>
            <a:off x="720104" y="2765425"/>
            <a:ext cx="3623296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Quartile #3: Complemented engagement during shock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Engaged pre-shock users</a:t>
            </a:r>
          </a:p>
        </p:txBody>
      </p:sp>
      <p:sp>
        <p:nvSpPr>
          <p:cNvPr id="487" name="Rectangle 486">
            <a:extLst>
              <a:ext uri="{FF2B5EF4-FFF2-40B4-BE49-F238E27FC236}">
                <a16:creationId xmlns:a16="http://schemas.microsoft.com/office/drawing/2014/main" id="{AD2BC57B-684E-15D7-D76D-401B98F03F30}"/>
              </a:ext>
            </a:extLst>
          </p:cNvPr>
          <p:cNvSpPr/>
          <p:nvPr/>
        </p:nvSpPr>
        <p:spPr bwMode="auto">
          <a:xfrm>
            <a:off x="5078413" y="2765425"/>
            <a:ext cx="3608387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Quartile #4: Substitution of engagement during shock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Most engaged pre-shock users</a:t>
            </a:r>
          </a:p>
        </p:txBody>
      </p:sp>
      <p:sp>
        <p:nvSpPr>
          <p:cNvPr id="504" name="Rectangle 503">
            <a:extLst>
              <a:ext uri="{FF2B5EF4-FFF2-40B4-BE49-F238E27FC236}">
                <a16:creationId xmlns:a16="http://schemas.microsoft.com/office/drawing/2014/main" id="{13790265-C0FA-0FBF-6BDD-95DE53EA7F14}"/>
              </a:ext>
            </a:extLst>
          </p:cNvPr>
          <p:cNvSpPr/>
          <p:nvPr/>
        </p:nvSpPr>
        <p:spPr bwMode="auto">
          <a:xfrm>
            <a:off x="720103" y="1233221"/>
            <a:ext cx="1473821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026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245</a:t>
            </a:r>
          </a:p>
        </p:txBody>
      </p:sp>
      <p:sp>
        <p:nvSpPr>
          <p:cNvPr id="505" name="Rectangle 504">
            <a:extLst>
              <a:ext uri="{FF2B5EF4-FFF2-40B4-BE49-F238E27FC236}">
                <a16:creationId xmlns:a16="http://schemas.microsoft.com/office/drawing/2014/main" id="{9D266AA8-0415-B1AE-B09E-7BCBDEB45F3B}"/>
              </a:ext>
            </a:extLst>
          </p:cNvPr>
          <p:cNvSpPr/>
          <p:nvPr/>
        </p:nvSpPr>
        <p:spPr bwMode="auto">
          <a:xfrm>
            <a:off x="5078413" y="1233221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100"/>
              </a:spcBef>
            </a:pPr>
            <a:r>
              <a:rPr lang="en-US" sz="800" u="sng" kern="1200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137</a:t>
            </a:r>
          </a:p>
          <a:p>
            <a:pPr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344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506" name="Rectangle 505">
            <a:extLst>
              <a:ext uri="{FF2B5EF4-FFF2-40B4-BE49-F238E27FC236}">
                <a16:creationId xmlns:a16="http://schemas.microsoft.com/office/drawing/2014/main" id="{05802718-45B9-FA95-F413-FF25A71C4AE4}"/>
              </a:ext>
            </a:extLst>
          </p:cNvPr>
          <p:cNvSpPr/>
          <p:nvPr/>
        </p:nvSpPr>
        <p:spPr bwMode="auto">
          <a:xfrm>
            <a:off x="720104" y="3175660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493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665</a:t>
            </a:r>
          </a:p>
        </p:txBody>
      </p:sp>
      <p:sp>
        <p:nvSpPr>
          <p:cNvPr id="507" name="Rectangle 506">
            <a:extLst>
              <a:ext uri="{FF2B5EF4-FFF2-40B4-BE49-F238E27FC236}">
                <a16:creationId xmlns:a16="http://schemas.microsoft.com/office/drawing/2014/main" id="{C07FDB21-633B-C5B0-5D6A-F05454696B62}"/>
              </a:ext>
            </a:extLst>
          </p:cNvPr>
          <p:cNvSpPr/>
          <p:nvPr/>
        </p:nvSpPr>
        <p:spPr bwMode="auto">
          <a:xfrm>
            <a:off x="5078413" y="3933425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3.544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3.03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068D453-CD13-CFB4-C956-9594CCCEDB60}"/>
              </a:ext>
            </a:extLst>
          </p:cNvPr>
          <p:cNvSpPr/>
          <p:nvPr/>
        </p:nvSpPr>
        <p:spPr bwMode="auto">
          <a:xfrm rot="16200000">
            <a:off x="-256824" y="1737810"/>
            <a:ext cx="103554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7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10D9D8A-EEBC-D1DD-EBD6-9D4B1BE0ABCF}"/>
              </a:ext>
            </a:extLst>
          </p:cNvPr>
          <p:cNvSpPr/>
          <p:nvPr/>
        </p:nvSpPr>
        <p:spPr bwMode="auto">
          <a:xfrm rot="16200000">
            <a:off x="-256824" y="3701509"/>
            <a:ext cx="103554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7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5290969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5634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606" imgH="608" progId="TCLayout.ActiveDocument.1">
                  <p:embed/>
                </p:oleObj>
              </mc:Choice>
              <mc:Fallback>
                <p:oleObj name="think-cell Slide" r:id="rId30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Oval 89">
            <a:extLst>
              <a:ext uri="{FF2B5EF4-FFF2-40B4-BE49-F238E27FC236}">
                <a16:creationId xmlns:a16="http://schemas.microsoft.com/office/drawing/2014/main" id="{752BF736-369E-5B6F-600D-B210E027857B}"/>
              </a:ext>
            </a:extLst>
          </p:cNvPr>
          <p:cNvSpPr>
            <a:spLocks noChangeAspect="1"/>
          </p:cNvSpPr>
          <p:nvPr/>
        </p:nvSpPr>
        <p:spPr bwMode="auto">
          <a:xfrm>
            <a:off x="5064132" y="3303938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124B7741-5834-F913-D761-7EF24A6A4CDA}"/>
              </a:ext>
            </a:extLst>
          </p:cNvPr>
          <p:cNvSpPr>
            <a:spLocks noChangeAspect="1"/>
          </p:cNvSpPr>
          <p:nvPr/>
        </p:nvSpPr>
        <p:spPr bwMode="auto">
          <a:xfrm>
            <a:off x="3976809" y="2065722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24BE8A7-602C-533A-CC2D-D853C7B413CE}"/>
              </a:ext>
            </a:extLst>
          </p:cNvPr>
          <p:cNvSpPr/>
          <p:nvPr/>
        </p:nvSpPr>
        <p:spPr bwMode="auto">
          <a:xfrm>
            <a:off x="4629576" y="1190625"/>
            <a:ext cx="138060" cy="3047560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Low engagement users seemed to get a wake-up call and started engaging </a:t>
            </a:r>
            <a:r>
              <a:rPr lang="en-US" i="1"/>
              <a:t>nearly 10x </a:t>
            </a:r>
            <a:r>
              <a:rPr lang="en-US"/>
              <a:t>more with Reddit following the shoc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0FECA8-D023-4F86-2868-6BB66BCA56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9</a:t>
            </a:fld>
            <a:endParaRPr lang="en-US"/>
          </a:p>
        </p:txBody>
      </p:sp>
      <p:graphicFrame>
        <p:nvGraphicFramePr>
          <p:cNvPr id="104" name="Chart 103">
            <a:extLst>
              <a:ext uri="{FF2B5EF4-FFF2-40B4-BE49-F238E27FC236}">
                <a16:creationId xmlns:a16="http://schemas.microsoft.com/office/drawing/2014/main" id="{B0B718E0-62B0-4A20-F284-57A79BE3376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0660560"/>
              </p:ext>
            </p:extLst>
          </p:nvPr>
        </p:nvGraphicFramePr>
        <p:xfrm>
          <a:off x="736600" y="1184275"/>
          <a:ext cx="8043863" cy="3140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C735045-FABA-829B-FD77-E85D658B983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81025" y="428466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088B1D1-67F2-4E77-882D-2D3A4E310E4E}" type="datetime'J''''u''''''''''l'''''''''''' 2''''''''02''0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0A6A0470-B730-2571-9AB5-94004F2E877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95450" y="4284663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0704ECD-E867-4DB9-A4E9-F4CA6DBC9B30}" type="datetime'''''S''''''''''''''e''''''''''p'''''' ''20''2''0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557A04B7-9ED9-F38E-C478-DAF71E85F68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819400" y="4284663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586D181-B7A7-405F-9706-D738E9F25EC0}" type="datetime'N''''''''''o''v'''' ''''''''''''2''''''''0''''''2''0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3A7B0B4-02C3-7212-A4C1-3DACB75DB51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56050" y="4284663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1F6CA1-1F89-40DD-A425-D5DCFD7E2044}" type="datetime'''''J''''an'''''''''''' ''''202''''''''''''''1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AB9A74F5-3B4D-54FC-0620-D43A17853DA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035550" y="4284663"/>
            <a:ext cx="533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D0D0BB-2EE3-4607-8C44-836BA2A01A1A}" type="datetime'Ma''''r'''' ''''2''''''''0''''''''21''''''''''''''''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2D5CBAF3-7C62-C758-A700-363AAE1713B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151563" y="4284663"/>
            <a:ext cx="554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C29EF8-1D74-4E61-9283-50EB490077AD}" type="datetime'''''''''''''M''''''''''''''ay'' ''''''''''''''2''02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DBD7D37A-85FC-E41E-1DAB-67BF66904DD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15200" y="428466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D0822C-50FD-4752-8C1D-986D5F412ACC}" type="datetime'J''''''''''''u''''''''''l'''''' ''''20''''''''''2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2C29977E-FFCD-1971-65A7-4CE5E9356A2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429625" y="4284663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BABE680-C71A-45A6-B531-36EAF9B43A77}" type="datetime'Sep'''''''''''''''''''''''''''''''''''' ''''''20''2''''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1CD5682-5FE1-914D-4BC8-D8F6B12D837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8950" y="41656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7AE2516-96E4-4E8D-96CD-8ECA75F29513}" type="datetime'''''''''''''''''''''''''''''''''0''.''''''''''''''''''''0''0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0</a:t>
            </a:fld>
            <a:endParaRPr lang="en-US" sz="1000"/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9F491E54-958E-E24A-59FD-E4764EDF675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8950" y="37941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88078A6-4F2A-49D6-AE24-AD08FB6E5E68}" type="datetime'0''''''''''''''.''''''''''''''0''''''''5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5</a:t>
            </a:fld>
            <a:endParaRPr lang="en-US" sz="100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F3D7D784-EF04-4151-E6AD-5308F0CE9C3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8950" y="34226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1DE45AE-92E4-4EFE-82A3-71F7420443EF}" type="datetime'''''''0''''''''.''''''''''1''''''''''''''''''''0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0</a:t>
            </a:fld>
            <a:endParaRPr lang="en-US" sz="100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44ECD905-1BBB-E23D-1BAC-0268869AC88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8950" y="304958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D940B55-932F-4A2F-A638-75948EC04896}" type="datetime'''''''0''''''''''.''''''''1''''''''''5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5</a:t>
            </a:fld>
            <a:endParaRPr lang="en-US" sz="1000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B5D74550-36AD-DE0D-ABA0-15DC6A273E0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8950" y="267811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9671371-EAEA-4247-9766-758A452EC58E}" type="datetime'''''''''''''''''''''0''.''2''''''''''''''''''''''''''''''''0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0</a:t>
            </a:fld>
            <a:endParaRPr lang="en-US" sz="1000"/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79B39A7C-A170-B6FB-739E-EEEF2A85946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8950" y="23066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8FAE424-C4D3-4C42-8C63-7093677BDD3D}" type="datetime'''''''''''''''''''0''''.''''''''''''2''''5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5</a:t>
            </a:fld>
            <a:endParaRPr lang="en-US" sz="1000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5573DB5C-296D-E158-8A39-05CAB27AB57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8950" y="19351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380AB78-D4C1-42D1-8EA0-26DE951E2A54}" type="datetime'''0''''''.''''''''''''''3''0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0</a:t>
            </a:fld>
            <a:endParaRPr lang="en-US" sz="100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43E79880-8BA2-9E9C-9192-B7A2FA21E20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8950" y="15621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784C69D-4059-4409-A9E5-9BB36942F791}" type="datetime'''''''''0''''''.3''5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5</a:t>
            </a:fld>
            <a:endParaRPr lang="en-US" sz="1000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B5287522-240F-811F-6C29-18D076F2785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8950" y="11906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DD41F5D-3668-4F67-A484-3AE3A7B690DE}" type="datetime'''''''''''''''''0''''''.40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0</a:t>
            </a:fld>
            <a:endParaRPr lang="en-US" sz="1000"/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B26F025-9A09-E072-78A1-D5D33DD1BD94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879475" y="1397000"/>
            <a:ext cx="2460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75D6D69-C424-59AF-67E2-A35ED3860D3C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879475" y="1600200"/>
            <a:ext cx="2460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EA309A2-76DE-E331-7C55-77152074CB4E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879475" y="1803400"/>
            <a:ext cx="2460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1532CAFA-E3EB-6E74-F6C9-E74A196E8236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63613" y="1358900"/>
            <a:ext cx="76200" cy="76200"/>
          </a:xfrm>
          <a:prstGeom prst="ellipse">
            <a:avLst/>
          </a:prstGeom>
          <a:solidFill>
            <a:srgbClr val="FF5700"/>
          </a:solidFill>
          <a:ln w="9525" cmpd="sng" algn="ctr">
            <a:solidFill>
              <a:srgbClr val="FF5700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E83EE865-230B-1B7C-BD66-309649E4A284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963613" y="1562100"/>
            <a:ext cx="76200" cy="76200"/>
          </a:xfrm>
          <a:prstGeom prst="ellipse">
            <a:avLst/>
          </a:prstGeom>
          <a:solidFill>
            <a:schemeClr val="tx2"/>
          </a:solidFill>
          <a:ln w="9525" cmpd="sng" algn="ctr">
            <a:solidFill>
              <a:schemeClr val="tx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53465EF-8170-64F8-3CB1-82B65F9593E5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963613" y="1765300"/>
            <a:ext cx="76200" cy="76200"/>
          </a:xfrm>
          <a:prstGeom prst="ellipse">
            <a:avLst/>
          </a:prstGeom>
          <a:solidFill>
            <a:schemeClr val="bg2"/>
          </a:solidFill>
          <a:ln w="9525" cmpd="sng" algn="ctr">
            <a:solidFill>
              <a:schemeClr val="bg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8FB56EDF-F098-1FCA-9DC5-6AB0AA6E7ED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185863" y="1325563"/>
            <a:ext cx="1995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D3559D8-0CEF-4359-AFB9-6ADA48B7DF16}" type="datetime'Me''an'' comm''ent''s'' o''n ''r/wa''''''lls''t''reet''bet''s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100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466F1C1-3FFB-67E5-0773-38D976CE6C2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185863" y="1528763"/>
            <a:ext cx="22113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9688A36-2856-4193-B94D-5BD717B18DB4}" type="datetime'''Mean comm''ents on all oth''e''r'' sub''redd''i''''t''s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100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F0E8C168-09FF-4DD1-021F-B5AFE1EEFED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85863" y="1731963"/>
            <a:ext cx="1208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7ACF1E6-F90C-494A-A3A6-5DAE26000B89}" type="datetime'Me''''''a''''n ''''tot''al'''' ''com''m''''e''''''nt''''s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1000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E034658-FEF3-0FC0-A33B-D5F9190493CD}"/>
              </a:ext>
            </a:extLst>
          </p:cNvPr>
          <p:cNvSpPr/>
          <p:nvPr/>
        </p:nvSpPr>
        <p:spPr bwMode="auto">
          <a:xfrm>
            <a:off x="746125" y="864797"/>
            <a:ext cx="4851400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Quartile #1 of pre-shock engagement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Complementary effect of the shock on other subreddit engagement</a:t>
            </a: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68F61E72-56A0-7DE6-36D8-78E3B8FA019D}"/>
              </a:ext>
            </a:extLst>
          </p:cNvPr>
          <p:cNvSpPr/>
          <p:nvPr/>
        </p:nvSpPr>
        <p:spPr bwMode="auto">
          <a:xfrm>
            <a:off x="935167" y="3443892"/>
            <a:ext cx="968375" cy="485775"/>
          </a:xfrm>
          <a:prstGeom prst="roundRect">
            <a:avLst>
              <a:gd name="adj" fmla="val 12745"/>
            </a:avLst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i="1" kern="1200">
                <a:solidFill>
                  <a:schemeClr val="tx1"/>
                </a:solidFill>
                <a:ea typeface="Tahoma"/>
                <a:cs typeface="Tahoma"/>
              </a:rPr>
              <a:t>0.026</a:t>
            </a:r>
          </a:p>
          <a:p>
            <a:pPr algn="ct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pre-shock mean total comments</a:t>
            </a: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20A52052-913C-9D61-CD20-9C38ACEC3CA3}"/>
              </a:ext>
            </a:extLst>
          </p:cNvPr>
          <p:cNvCxnSpPr>
            <a:cxnSpLocks/>
          </p:cNvCxnSpPr>
          <p:nvPr/>
        </p:nvCxnSpPr>
        <p:spPr>
          <a:xfrm>
            <a:off x="4758531" y="2382838"/>
            <a:ext cx="3928269" cy="0"/>
          </a:xfrm>
          <a:prstGeom prst="line">
            <a:avLst/>
          </a:prstGeom>
          <a:ln w="19050" cmpd="sng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1388A7B0-750E-9FCA-240F-140E4B444E5A}"/>
              </a:ext>
            </a:extLst>
          </p:cNvPr>
          <p:cNvSpPr/>
          <p:nvPr/>
        </p:nvSpPr>
        <p:spPr bwMode="auto">
          <a:xfrm>
            <a:off x="7642813" y="1820863"/>
            <a:ext cx="1044224" cy="485775"/>
          </a:xfrm>
          <a:prstGeom prst="roundRect">
            <a:avLst>
              <a:gd name="adj" fmla="val 12745"/>
            </a:avLst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i="1" kern="1200">
                <a:solidFill>
                  <a:schemeClr val="tx1"/>
                </a:solidFill>
                <a:ea typeface="Tahoma"/>
                <a:cs typeface="Tahoma"/>
              </a:rPr>
              <a:t>0.25</a:t>
            </a:r>
          </a:p>
          <a:p>
            <a:pPr algn="ct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post-shock mean total comments</a:t>
            </a: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7C46DA93-C8C0-97EB-15E0-D2C903A8791C}"/>
              </a:ext>
            </a:extLst>
          </p:cNvPr>
          <p:cNvCxnSpPr>
            <a:cxnSpLocks/>
          </p:cNvCxnSpPr>
          <p:nvPr/>
        </p:nvCxnSpPr>
        <p:spPr>
          <a:xfrm>
            <a:off x="819150" y="4056063"/>
            <a:ext cx="3577393" cy="0"/>
          </a:xfrm>
          <a:prstGeom prst="line">
            <a:avLst/>
          </a:prstGeom>
          <a:ln w="19050" cmpd="sng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EE34B3E0-4D69-CC82-BBF9-F68D796A25DE}"/>
              </a:ext>
            </a:extLst>
          </p:cNvPr>
          <p:cNvSpPr/>
          <p:nvPr/>
        </p:nvSpPr>
        <p:spPr bwMode="auto">
          <a:xfrm>
            <a:off x="5212080" y="860013"/>
            <a:ext cx="3474720" cy="22935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Low engaged users engaged much more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04A1908-5748-C749-4A91-4DBFD4AE2C84}"/>
              </a:ext>
            </a:extLst>
          </p:cNvPr>
          <p:cNvCxnSpPr>
            <a:cxnSpLocks/>
          </p:cNvCxnSpPr>
          <p:nvPr/>
        </p:nvCxnSpPr>
        <p:spPr>
          <a:xfrm>
            <a:off x="5212080" y="1089363"/>
            <a:ext cx="3474720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:a16="http://schemas.microsoft.com/office/drawing/2014/main" id="{33121DC4-48EE-BCE8-88C7-2E148AB88BAC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169476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1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A5A5071-A294-7C40-0F3A-3EBAB7A79651}"/>
              </a:ext>
            </a:extLst>
          </p:cNvPr>
          <p:cNvSpPr/>
          <p:nvPr/>
        </p:nvSpPr>
        <p:spPr bwMode="auto">
          <a:xfrm>
            <a:off x="5360509" y="1169476"/>
            <a:ext cx="3326291" cy="24533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Complementarity during the shocked period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B202DCAE-3197-3D73-605E-D9E7656B5721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515189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2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47AAE3F-5F5C-CA15-8974-9027C10F4758}"/>
              </a:ext>
            </a:extLst>
          </p:cNvPr>
          <p:cNvSpPr/>
          <p:nvPr/>
        </p:nvSpPr>
        <p:spPr bwMode="auto">
          <a:xfrm>
            <a:off x="5360509" y="1519206"/>
            <a:ext cx="3326291" cy="241322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>
                <a:solidFill>
                  <a:schemeClr val="tx1"/>
                </a:solidFill>
                <a:ea typeface="Tahoma"/>
                <a:cs typeface="Tahoma"/>
              </a:rPr>
              <a:t>Significantly increased post-shock engagement</a:t>
            </a: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B70BC494-15E3-D92A-CB7B-D71F0AA7445D}"/>
              </a:ext>
            </a:extLst>
          </p:cNvPr>
          <p:cNvCxnSpPr>
            <a:cxnSpLocks/>
            <a:stCxn id="67" idx="7"/>
          </p:cNvCxnSpPr>
          <p:nvPr/>
        </p:nvCxnSpPr>
        <p:spPr>
          <a:xfrm flipV="1">
            <a:off x="4056912" y="1562100"/>
            <a:ext cx="479238" cy="517366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D9B3A717-8574-3936-0178-F5DABE408D0E}"/>
              </a:ext>
            </a:extLst>
          </p:cNvPr>
          <p:cNvCxnSpPr>
            <a:cxnSpLocks/>
            <a:stCxn id="67" idx="5"/>
          </p:cNvCxnSpPr>
          <p:nvPr/>
        </p:nvCxnSpPr>
        <p:spPr>
          <a:xfrm>
            <a:off x="4056912" y="2145825"/>
            <a:ext cx="479001" cy="532288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7FAB576B-B2D5-4C0C-7744-61B7E483EB20}"/>
              </a:ext>
            </a:extLst>
          </p:cNvPr>
          <p:cNvCxnSpPr>
            <a:cxnSpLocks/>
            <a:stCxn id="90" idx="3"/>
          </p:cNvCxnSpPr>
          <p:nvPr/>
        </p:nvCxnSpPr>
        <p:spPr>
          <a:xfrm flipH="1">
            <a:off x="4214812" y="3384041"/>
            <a:ext cx="863064" cy="535576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186534E8-0FF8-6CDD-090E-83201E9C9A71}"/>
              </a:ext>
            </a:extLst>
          </p:cNvPr>
          <p:cNvCxnSpPr>
            <a:cxnSpLocks/>
            <a:stCxn id="90" idx="0"/>
          </p:cNvCxnSpPr>
          <p:nvPr/>
        </p:nvCxnSpPr>
        <p:spPr>
          <a:xfrm flipV="1">
            <a:off x="5111056" y="2495349"/>
            <a:ext cx="112660" cy="808589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Oval 68">
            <a:extLst>
              <a:ext uri="{FF2B5EF4-FFF2-40B4-BE49-F238E27FC236}">
                <a16:creationId xmlns:a16="http://schemas.microsoft.com/office/drawing/2014/main" id="{05304CF2-9D14-90F0-5107-4D7B6272793B}"/>
              </a:ext>
            </a:extLst>
          </p:cNvPr>
          <p:cNvSpPr>
            <a:spLocks noChangeAspect="1"/>
          </p:cNvSpPr>
          <p:nvPr/>
        </p:nvSpPr>
        <p:spPr bwMode="auto">
          <a:xfrm>
            <a:off x="3901063" y="1989976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1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DAA3FFBA-00E6-C941-86C6-2BFB177E4049}"/>
              </a:ext>
            </a:extLst>
          </p:cNvPr>
          <p:cNvSpPr>
            <a:spLocks noChangeAspect="1"/>
          </p:cNvSpPr>
          <p:nvPr/>
        </p:nvSpPr>
        <p:spPr bwMode="auto">
          <a:xfrm>
            <a:off x="4988386" y="3228192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2</a:t>
            </a:r>
            <a:endParaRPr lang="en-US" sz="12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6A5CB45B-E3EE-7C12-CD8B-D21F6A7903B4}"/>
              </a:ext>
            </a:extLst>
          </p:cNvPr>
          <p:cNvSpPr/>
          <p:nvPr/>
        </p:nvSpPr>
        <p:spPr bwMode="auto">
          <a:xfrm rot="16200000">
            <a:off x="-766319" y="2609127"/>
            <a:ext cx="205453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208252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67" grpId="0" animBg="1"/>
      <p:bldP spid="60" grpId="0" animBg="1"/>
      <p:bldP spid="63" grpId="0"/>
      <p:bldP spid="64" grpId="0" animBg="1"/>
      <p:bldP spid="65" grpId="0"/>
      <p:bldP spid="69" grpId="0" animBg="1"/>
      <p:bldP spid="8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2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#m.%y&lt;/m_strFormatTime&gt;&lt;m_yearfmt&gt;&lt;begin val=&quot;4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1 %Y&lt;/m_strFormatTime&gt;&lt;m_yearfmt&gt;&lt;begin val=&quot;0&quot;/&gt;&lt;end val=&quot;0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9&quot;&gt;&lt;elem m_fUsage=&quot;4.41579511000000124454E+00&quot;&gt;&lt;m_msothmcolidx val=&quot;0&quot;/&gt;&lt;m_rgb r=&quot;FF&quot; g=&quot;57&quot; b=&quot;00&quot;/&gt;&lt;/elem&gt;&lt;elem m_fUsage=&quot;1.51446743089774238378E+00&quot;&gt;&lt;m_msothmcolidx val=&quot;0&quot;/&gt;&lt;m_rgb r=&quot;E6&quot; g=&quot;5B&quot; b=&quot;20&quot;/&gt;&lt;/elem&gt;&lt;elem m_fUsage=&quot;1.06677181699666578929E+00&quot;&gt;&lt;m_msothmcolidx val=&quot;0&quot;/&gt;&lt;m_rgb r=&quot;05&quot; g=&quot;A2&quot; b=&quot;DC&quot;/&gt;&lt;/elem&gt;&lt;elem m_fUsage=&quot;1.06418658283290024080E+00&quot;&gt;&lt;m_msothmcolidx val=&quot;0&quot;/&gt;&lt;m_rgb r=&quot;FF&quot; g=&quot;BF&quot; b=&quot;00&quot;/&gt;&lt;/elem&gt;&lt;elem m_fUsage=&quot;2.82429536481000165171E-01&quot;&gt;&lt;m_msothmcolidx val=&quot;0&quot;/&gt;&lt;m_rgb r=&quot;BF&quot; g=&quot;9B&quot; b=&quot;30&quot;/&gt;&lt;/elem&gt;&lt;elem m_fUsage=&quot;2.28767924549610118801E-01&quot;&gt;&lt;m_msothmcolidx val=&quot;0&quot;/&gt;&lt;m_rgb r=&quot;00&quot; g=&quot;33&quot; b=&quot;A0&quot;/&gt;&lt;/elem&gt;&lt;elem m_fUsage=&quot;2.05891132094649098594E-01&quot;&gt;&lt;m_msothmcolidx val=&quot;0&quot;/&gt;&lt;m_rgb r=&quot;FF&quot; g=&quot;D4&quot; b=&quot;00&quot;/&gt;&lt;/elem&gt;&lt;elem m_fUsage=&quot;1.85302018885184188735E-01&quot;&gt;&lt;m_msothmcolidx val=&quot;0&quot;/&gt;&lt;m_rgb r=&quot;C6&quot; g=&quot;00&quot; b=&quot;0D&quot;/&gt;&lt;/elem&gt;&lt;elem m_fUsage=&quot;1.50094635296999207030E-01&quot;&gt;&lt;m_msothmcolidx val=&quot;0&quot;/&gt;&lt;m_rgb r=&quot;D6&quot; g=&quot;1F&quot; b=&quot;27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NaPdokOMx_p2SIJDhiU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O5_x6HpcMyoq.f.BuhB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jG9PBMl9RYw5Z7MRlv3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iWsh3i2g9XYpTtVcrGN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hkFBVyZtmkKov1u07RC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z_jzqdRejmwvSd4GTaV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4PYrQK3GLvIwDxuwEk5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VaA7Bz1PI_e2lzSYTj8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bB7YXCgLT7Ag_ftVM4u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C6DhM1tUb7jop44Y_C1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iD56DAzMx1zlhtofCw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udYYDna3Y.bB_tngG2P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2RotsepJNTTOwsF1kxS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gKHeXVCvR0GfLtp8bAD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exTrsB7eWpB3.WikvVN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Moj5gKpOgx86YXQcVsi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bbxXtsCKAxTFUblTW3l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W20J0zFxDVHEDjp4S4F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WBFS25HiokVaNIFsXvQ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uFkszX7dIb7QuJS3WKx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AFIEkPTMshtZweakT7p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jGrL3PlOdbR02u1_gp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GnO0gmznUlvRVwh4RF5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GnvdIKuPxMk..N0XK6p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U6O6D_dpx6wVpqJ7t1r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2oZaxjzxFVG7eMMVDaZ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zkfZe7ZTFNEWnHd4xeV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khRDBF0xAB3Ks.8WUHp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mxjC3IncTvXXQ2AdjyK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hqHI1tGSnz52iU6t6ci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WrhkuCrHZdtpNr6ByoO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qdYyYISD8WUOIX4U5Bq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NRTZnRX4dah3v3qzuV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jXSJyWd57aPFMRQZLZJ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rUKJ2xGWBFqA_FQ4KnH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ZqfD92_TLvF1SSpGlvr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Rif20p.qwqCOGp5VGNv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peIPh2e5r_XqjBWE2rp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W2jVeXqD2rL2E7uy4J0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QBAJ8Io6k_XRSjBlRjm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5nemfiNmciDErqFW6J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0dXmZn1cKw_WX2JS0TC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aJw2_L4TYrNRp0KhYPo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EWJSs.MSU6EvM1r9XI_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1eF7LVYoApaxGptRlp_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DN52Y6OpPj8.JLZcZes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3q2NekNAXILrMKQz.V0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DsSdMt8h1M5JBtp4OnC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ugQiLTM8MmKWu0XTZzd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1DTon4dMQEly_ks6hDD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R2ssBS56Y.NfdZLcdNN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alMMnG1dxcTS5fKcc5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jWhbcSEnC5YfIWeaLuk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1n68xxhKBmY2kUHPrq7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ZKhlVLjtTx2XpnIfwLj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u4C6hFRWNIPa17Ld5Tz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0nv5CTnqgTlGNmIivj4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F2n9sNib7ZM6WZka8fV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3wJsFXCdpenWIH6RQ.E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zfNyVwIHyKVdasgqkio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9AgHhtRl6jeRLLTV0YM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rqUnpq5z5zHlMGg1cX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ssqeEtZ8MXD9Ehym8m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PUfJvfrfpzPK19eNTH8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P.8lf2dAutJt7aC9xL5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zLcB1DQqREgTBENXtL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btBs1iM1YQe4k7_a4SX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ekds5Xg3gfkP6Mqgxk0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3aXp_wEPqPnXJZa0rfo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K5mOrT1ypZPzQ_7OHLp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aBWeYdBRiYeMzhk.JJq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xP1A6ukUHl3PeQ0jak1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IyZ73UfbwHSXhgS9Vb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aFsOog4ihR3qNghPcvW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_bnLSGJ5k9IYJZd0fY5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JttG6Z0JfRoVvgbDXb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0yBAASEQidBXlXEk7FD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yIfJuarwvkVaC3W3pKE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sbrZMirvDfMP8WQdSpP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s2WJkFC8d0ANbSARfat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W1kfzz.lTS_.bF9xUQS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TylTGH8RzurTBdH4UyB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RjpAZ1eUy3xNd.CNQch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mYnlYVXAWihaqe3Nat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KohNh3w3sPUo8aUK2pA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OekYc.dXU.TkPUYqjL8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KjEiNRZWvdGflv6eF8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F8ajyMq20kuFHQ.GT5D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t_FySJ7GGqlKYXxOd68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BDY2wtAV35McpsLI3ws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5xAa4YS3UjmCfNJkCkt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wCblU32mXf57oGX816f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EmPHK1XmupI4HGbbSbF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_hWEcK0qYAdhyWF6pOy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tHI3zC9ac6NbBo52HU0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sr2fMfzKlGV8pEx_Gqn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XuWWThQSHUiZCB10xVZ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lZE0Av.VWR.fN49w7l4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pozQBP8LwUL24yUlBN7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jJchUUB8QSk7waZ3ggx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0mZI4wwG_BiX5aTrLaq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0UsWDso9NRAcqOdCUZ2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iUy_IE64NOemADq8mio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P3QGNgw.9pXwKAkYDQ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WAwltIcJ9bPwEhhiNEc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rMthGq6twTdVuR4YAy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LjwYly.x6QPRhdbJNmB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m1MPw2yOHO6erVNSyJe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WpMpTdMepmU20YKiLLv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y.eyTlFkowBddeyqG5W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1R0pXTlK5Jw6HgS.ooI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6bKpRckxZuIcdY1X289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UxT1TL8qW6RBr0ddwOA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BPL07jBNHUPDutJd6XK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9UHZdlP5.19O2eSvgV7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vd0FBc74NcuiYog_Io3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4gtaKDbtxknErmYs_n3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IQPcY_cW7aH4fZWojr3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a.scaO8pXyqpcrjYs6_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n7eGQ6o7t7VswQs_9X0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pH3IbGF.tdPG6630oqg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clggXb2xSf9e4aidkwR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C3mhT_5xTNIYWND3In_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7Refjs_vnAeZUreoakX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juQuoYCBoKcnQgGMvTv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h0pEX6ahkC7ijsvf4my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icyXe39KrvpDjbHM66W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tc.YgXrZNM2vPEfb_0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Sln_9jKcsShNiliXDO1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yo4Gt_d3xGCr0CCYOtv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zJVOdRyW70IbL8dtT.P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A0fnpneU0WWj8hhuI5Z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m2zl5QPkpaVTtcV_.Go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HdQ88ahvCQnX394MfF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1sH6e9hK6ADTGyqw0.d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ax5MHWSfCc5uSVz8PE.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KjaF9zlSaA94KcFL30_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tAO_9u6Asu0cp5vNJnQ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beKKH8aAeuQIplBiZd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DzKodJ_34TJTNntd6is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Pa6FFlEiba4Z6jPxTbY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KZnQqoJmMpWenKf1POe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wW_PlD0nkVkjioxDSoZ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zLcB1DQqREgTBENXtL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DIJ4a5360WkR5zTAYxi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poPk781fHhlzk1_JK2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8dnKhLZ6tAQKMMBYqkB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jm7Tnd2D9RBmEIDPmLK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GbSl6CagNfYdWA0A.2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4zIAEHz_.PgE71x2rTo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3E1BEIj86u1luThM1nK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ukmExD1pUyFoPB4DQbM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F62D4aKg0oqYe.LMzaX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JttG6Z0JfRoVvgbDXb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_91IiFiVrcvsDNIwfjo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DgnDyZJJbXBSdH4taTF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8jkRyyxbg4q39DK7.yb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IvmFg6.F9gnrEYahs.R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d37GAyuLDcqOW0w38Sb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uo6m9bhDtz2.sOT3J3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ag2h_IFroue3WnFiofh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oHiAKq9KE5tW7V5ELrP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lsH4iX1ngYn2k2VG2OC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0pqDC8RpmsbViz9zV8l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w85SsquZdt3MfNQ3P0.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p5JWvi4Knh52cftjc8T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PT4xPjj68d7odIHIxot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puBmfpGx13Iyai4l_1h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O9kQPV1iRuY94WxQNUg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RVTdUR7Rbw4_4SN6bAC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oo0DlQNW0WB.Z9rcKHl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zdL1f.1vIStFeO8V6Rx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fhKFKvRcpZamwcY.1ko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zLcB1DQqREgTBENXtL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DIJ4a5360WkR5zTAYxi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poPk781fHhlzk1_JK2K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8dnKhLZ6tAQKMMBYqkB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jm7Tnd2D9RBmEIDPmLK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GbSl6CagNfYdWA0A.2Q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3E1BEIj86u1luThM1nK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ukmExD1pUyFoPB4DQbM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1dpWQdceJOuD59VlFDL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F62D4aKg0oqYe.LMzaX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JttG6Z0JfRoVvgbDXb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be4pkr4VfnBkOs4A1Xg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b8OTS0kB64ngVrNfSRz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GjPzHFix58brxbVookz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bO5H8E25ApVyf3cxFZn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ZbN0oYgO6Ku667w7_nP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7fYHcHJrdwdNzQ62iqv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QERTqKgeQIw8.OGGDY_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0KmaeT5jRpZABgdQwZ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xvvErO8lAyaNuaez9i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y0gLvk9ju_6ZdsHPz4M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0pqDC8RpmsbViz9zV8l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w85SsquZdt3MfNQ3P0.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p5JWvi4Knh52cftjc8T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PT4xPjj68d7odIHIxot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puBmfpGx13Iyai4l_1h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O9kQPV1iRuY94WxQNUg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RVTdUR7Rbw4_4SN6bAC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oo0DlQNW0WB.Z9rcKHl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fhKFKvRcpZamwcY.1k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NSsNfwpp4T60WjfM6Zp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rUKJ2xGWBFqA_FQ4KnH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ZqfD92_TLvF1SSpGlvr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bqLAGW6_SyYXqbg2WPo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W2jVeXqD2rL2E7uy4J0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3Vl0PsRjhPAz7fZ4_7U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aJw2_L4TYrNRp0KhYPo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P_knnpdq_lhGBWwk043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1eF7LVYoApaxGptRlp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oE5UALEp3PPtsMEQEWV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DN52Y6OpPj8.JLZcZes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3q2NekNAXILrMKQz.V0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DsSdMt8h1M5JBtp4OnC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ugQiLTM8MmKWu0XTZzd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1DTon4dMQEly_ks6hDD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R2ssBS56Y.NfdZLcd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alMMnG1dxcTS5fKcc5e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1n68xxhKBmY2kUHPrq7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ZKhlVLjtTx2XpnIfwLj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LWCGTWfHcZ7QGexLMJ.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0WKore4vUHX3u9B9rTS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q0h7SfT_1HDG4Rb9bpQ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I3VCJzEtaLplu_ImUxa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u4C6hFRWNIPa17Ld5Tz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0nv5CTnqgTlGNmIivj4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F2n9sNib7ZM6WZka8fV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rqUnpq5z5zHlMGg1cXT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ssqeEtZ8MXD9Ehym8m8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P.8lf2dAutJt7aC9xL5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ytmYMJDvel8OUPOHibM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6UAf8JoHvYF8KGkz6F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EY5nBahIy38s9wqKV0_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GseRKBJoZsrid3zqpZ4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_2F_J3V4pWXcad9qR8f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6v.BW9fL2IzyHBzf_Oq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IsnZrA8FpglcQ5QetQi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x8dElOcvJ2vLDsid5VS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GK5yHRJiU4qKlglxOd6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msY8PJq5MkAY6gOzz5p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9LZbxh_zst.dXQKBjVG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OraOhFqRFFnj5qZa2oz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fl61C0TxDEBmMEEsiFb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vbvjPoGvpsybrPQbwih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pB7SZMkQTNDDYzeCDhi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B4bVrCovY2Q.CiQmnjM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CSaTCCWlEPlcx.1zUo1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DHt0qGxk7UWNvc4J9a8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L_kz0XXzAsjxCLmrg4W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8LwXAieg6QgIN72VvSk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fifKZval7HPa7cUpRhp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bJiNVwzFCVI.pV0etBq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zLcB1DQqREgTBENXt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XN2Ugr_1WCr4c.xCLoR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btBs1iM1YQe4k7_a4SX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ekds5Xg3gfkP6Mqgxk0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3aXp_wEPqPnXJZa0rfo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K5mOrT1ypZPzQ_7OHLp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aBWeYdBRiYeMzhk.JJq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xP1A6ukUHl3PeQ0jak1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IyZ73UfbwHSXhgS9Vby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_bnLSGJ5k9IYJZd0fY5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JttG6Z0JfRoVvgbDXb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0yBAASEQidBXlXEk7F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BZJh.ja5l35QMewo4oZ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yIfJuarwvkVaC3W3pKE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sbrZMirvDfMP8WQdSpP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s2WJkFC8d0ANbSARfat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W1kfzz.lTS_.bF9xUQS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TylTGH8RzurTBdH4UyB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mYnlYVXAWihaqe3Natb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OekYc.dXU.TkPUYqjL8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KjEiNRZWvdGflv6eF8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F8ajyMq20kuFHQ.GT5D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t_FySJ7GGqlKYXxOd68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NyjOHTFnemXBiDSxmyO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BDY2wtAV35McpsLI3ws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icyXe39KrvpDjbHM66W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tc.YgXrZNM2vPEfb_0t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yo4Gt_d3xGCr0CCYOtv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zJVOdRyW70IbL8dtT.P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A0fnpneU0WWj8hhuI5Z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m2zl5QPkpaVTtcV_.Go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HdQ88ahvCQnX394MfF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1sH6e9hK6ADTGyqw0.d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ax5MHWSfCc5uSVz8PE.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NwVBRWKWS5SyFiRhnmL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KjaF9zlSaA94KcFL30_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tAO_9u6Asu0cp5vNJnQ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beKKH8aAeuQIplBiZdp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Pa6FFlEiba4Z6jPxTbY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KZnQqoJmMpWenKf1POe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WphJ68hhD.zT70IALCu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9WrzaNgZyz.CEM4OAM6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mlN2u1F9HcQPlAL2My9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LiMrbuo4cEiN0YBtr2g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anmgG9fh1BSovLsiP9G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XfIn3NAILi2gdpi64D8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BDWTch._ZVbXtlcIiRr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QKfxyn8TI7PWcyBEal6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wMb4bWfoRjVfm0tH0Oj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r6T5hc7OgonS7Ia_jap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5uv2vTLMspLG8a6JKpc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EKiqkGmTjW82eabtT6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1ZeXtpG923RVj.AWSIS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aEP8MYKY0bveJ2e7BnJ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Dd6G0P32Z4fhzpZuOUa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K5PgCE_Zsvtij54TmkL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3Th7nBh3BmUt9JPIvWr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EbD1ix9kG7ODBT_xILw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XLOuqoMTa7xVG8x947N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JorLAA8WLL5RIEGFZyu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WpF_E.xaBVMvDvj5o6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EcfjAaspdQQapyPV37G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JNzVQxku2yOHFn9J7fb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MY7y6b4c4bSLeXY_dqf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zSjO6_zFUSZ3IbKsG.i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.HnFBvz1DjPunz5Ys.4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HCpuaVOiNPpFSkGSw2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aGjewog9Ms3jdnvHioS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6ODb3yFG2AN0La4Ac4a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lW_5cLegPKdXHNIJ8Zi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WWc.2_EWa2tWhg5I9xm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UjXV6Sw4OXeE4bsI.2W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Ml7DNpfLQNFD3Pcy_WL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_UO42RzU2zMJKBSBIDJ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w32Hz3wL1k8o2BL438F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rab2dtAoL87cNsh6kb_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uduL2x5PDdTX0Mc4fDs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6zbXTcY.MO6sL.241Mr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StIRPKywQpiorkEN95Z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SRBYVHrfInabLSTqpKT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FchvUZ5Euu3xN26k7HL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4CYAujsLTSpgkUPggdu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dkwFaQQrgPsGZB2yDzm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GJmvPtu.srYaLjI4gre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Tc7A73vV86w5WVXPO3X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1zOiuViVe.vP8Xb1lTR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7VYM1zPcFWvw9AzLfzp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pQasrjtha0kjq_IEtid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QoeEmw2_2c3XHDpncD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IqLNVdIIz0yZYT1ZNsf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phrd2.Iiba6bh1OtnWS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K1HAfHejf63JM1cYs0o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6UVgT.LC1zWRWPtUM0H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iSEyNbB5tAx0jePp3dd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wENOwKRE16rWqac3gX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bklt8Tbcuu6T5iwz.zb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kVl8F4iV5whZUMIFL22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ni3AcAP27ebN2gRhgku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FVlwGY0zgMC3Gsvb8as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SFZ0V22udhttQxjGhp3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MQneH3JA_5aFjLlK0wo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PZStedgR6SDV35YECX.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LY2NRGpXOUSpLnfve1v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I0t4MePufMf1RJajRAU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pitoXXKuvyAT1MPKOBh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NXgrcN2cd6.sG5zl.jB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G0m7zpYQwMRtOK7bYYz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jcrltk5ThWXapkyfJGL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BZRMrELhMtsLDNd1rik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2D0oUMhn_zcgYzaeoXk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6vfhCrj_zYx6fS4L1W7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lcpnO.WJ1o90ZiVg_dS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7.AinBuGpzKhvN0Noo5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niFpQNwnL_6fTRQsTHi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l.GYP4JuUNtvSFBebcX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oaahlR042AD5.VCeirb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xzFPUJDIcYEktLA4YYg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y8lsHtOl8WhF4cFyuWv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p4jrDcs0zNt5yahsPj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2i.KiDBIq0XJvxSSZi3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18a3vrnITFHKS.ztROL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8W8cy_yMiZorNVwtUmQ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p1AoNwaYJQzLXSP.VAU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_dk6kZUgqasDldw5itf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VR1aOWoHEiaB_mk8Ems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FT1kSx5sF8uZUcngLYS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9eX_fzhiSp9BwOSCZ1h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CsKe6O7wGqqYXkKDYg8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F3AeKm53VWrerOV5UJM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o0W7tjnTdJS8sI78TQ8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NTejHj_9qGS206l83y5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mfWFYPx46m6ds9eKgE7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9oXpCVflUT_H4ksZ1Ci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xgxIYGbNZLhdHTU0vbv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PQGY7voXd84ibmzPeOf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mdPOFMcBdxBeSns1yVK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gZArqDXru0gFcpjqPbu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iYMt1_2DLmFZPuY8LkL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A94VW2gW5DPOwIkitsy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SAybFXl4Xrwr1Eg2h8I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X39t0vvKN2aYIBy9fL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9eaW9tOjRe6jnplhQNA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GupmKiUt1y9kdhBcm6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hq5yCe8bhwbc9DxdRpI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p0j_.J.pfnEDmQQqcFg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i1TD60uQzWjQBJ7jw9D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KJ1fMx6jWQ6Lc8JcZkH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.DvfmYkgXCzKxGBk47.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LBa9BbnDHSHGI2SGn05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bTYQLDbiS5c6Onu3CXN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J4aZDNzezInhDe95idZ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B6L4mR_GqG_XyfFoi3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B8l8f6ct3whSqubLoOu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gTxn1lunwe2N0Re.ubb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kNTzfDD2lxqR2_B4TAw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kK5.hOFKQ6jz_QFjbqX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Lkt.FSet0xkHnmxhYnS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szIXHgyu6N0bCloGUtw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OhZBo2YwLHvg5aYLsG9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pQHxuXaw73CEQ2pbPfR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U7jKzn9ekveL7N0nB_p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m5Rj6Qwv.4rooDD_9JH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5ST1JlweiubzgeQv5Y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Zfe3cexNeWW5MV1wu32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vdHj2sbDH38TIRaOWe3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Cb5dRfybpFOBWJmjpPn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_mlTcio5ZfRIDRrKwwc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4SMPmzCstTVuCGEEyDs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wDFzoWjmu9HO1eA6LAD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e.L_q5iejiaRPSo_Vtx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b3oyFYMVqSL8hGuC6YZ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k2LTh9b65u3qCbH5bhE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.HrNeZ2DYxoC__yE4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irGJhkTANAgC42Pggr2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vJDiV4j7O2gdsM7Wm27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MsrbQ1W6XOMfkLLkISn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mwlaQ_lWRHWMJC_e7iZ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Q8KyFmyqgbTaa_R.nga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yefyRKoigL74y3lXujX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I.Pypau2MU54SqTjmK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kLhcCzGbVD4SetzNtg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Fu08bvQ5C4P9EHHVpxN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0EK3jdV9xGq6d64Y7uX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UD89SsUJAokwdkvSj6bA"/>
</p:tagLst>
</file>

<file path=ppt/theme/theme1.xml><?xml version="1.0" encoding="utf-8"?>
<a:theme xmlns:a="http://schemas.openxmlformats.org/drawingml/2006/main" name="Keystone_2016">
  <a:themeElements>
    <a:clrScheme name="Keystone Color Palette 1">
      <a:dk1>
        <a:srgbClr val="3D505A"/>
      </a:dk1>
      <a:lt1>
        <a:srgbClr val="FFFFFF"/>
      </a:lt1>
      <a:dk2>
        <a:srgbClr val="000000"/>
      </a:dk2>
      <a:lt2>
        <a:srgbClr val="7FC349"/>
      </a:lt2>
      <a:accent1>
        <a:srgbClr val="3D505A"/>
      </a:accent1>
      <a:accent2>
        <a:srgbClr val="7A868E"/>
      </a:accent2>
      <a:accent3>
        <a:srgbClr val="9DA6AB"/>
      </a:accent3>
      <a:accent4>
        <a:srgbClr val="004E6F"/>
      </a:accent4>
      <a:accent5>
        <a:srgbClr val="00AEEF"/>
      </a:accent5>
      <a:accent6>
        <a:srgbClr val="6DCFF6"/>
      </a:accent6>
      <a:hlink>
        <a:srgbClr val="00AEEF"/>
      </a:hlink>
      <a:folHlink>
        <a:srgbClr val="00AEE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6350" cmpd="sng">
          <a:noFill/>
          <a:headEnd/>
          <a:tailEnd/>
        </a:ln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rtl="0">
          <a:defRPr sz="1200" kern="1200" dirty="0" smtClean="0">
            <a:solidFill>
              <a:srgbClr val="000000"/>
            </a:solidFill>
            <a:ea typeface="Tahoma"/>
            <a:cs typeface="Tahoma"/>
          </a:defRPr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635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Keystone Strategy template_wide" id="{4A207043-98F5-4792-9ED8-7DE83214BEE8}" vid="{FCAB7A3E-C332-46A0-9EE5-60B84A436AB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03D2704B6E3F4FBA5AA0FAF03F0328" ma:contentTypeVersion="9" ma:contentTypeDescription="Create a new document." ma:contentTypeScope="" ma:versionID="66b190b1528077e35f16dba9367d6236">
  <xsd:schema xmlns:xsd="http://www.w3.org/2001/XMLSchema" xmlns:xs="http://www.w3.org/2001/XMLSchema" xmlns:p="http://schemas.microsoft.com/office/2006/metadata/properties" xmlns:ns3="4ed100de-1377-4b33-a597-721b61c9e03c" xmlns:ns4="26382f21-48c2-451e-8429-bdee32f3307f" targetNamespace="http://schemas.microsoft.com/office/2006/metadata/properties" ma:root="true" ma:fieldsID="1880ceb17e62d2a77b2aa5b9ec5b7294" ns3:_="" ns4:_="">
    <xsd:import namespace="4ed100de-1377-4b33-a597-721b61c9e03c"/>
    <xsd:import namespace="26382f21-48c2-451e-8429-bdee32f3307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d100de-1377-4b33-a597-721b61c9e0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15" nillable="true" ma:displayName="_activity" ma:hidden="true" ma:internalName="_activity">
      <xsd:simpleType>
        <xsd:restriction base="dms:Note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382f21-48c2-451e-8429-bdee32f3307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ed100de-1377-4b33-a597-721b61c9e03c" xsi:nil="true"/>
  </documentManagement>
</p:properties>
</file>

<file path=customXml/itemProps1.xml><?xml version="1.0" encoding="utf-8"?>
<ds:datastoreItem xmlns:ds="http://schemas.openxmlformats.org/officeDocument/2006/customXml" ds:itemID="{6485AFB0-48F9-4583-B6AA-035904B30AA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1B18E0D-9AEE-4CC2-BF75-80CAC54462BF}">
  <ds:schemaRefs>
    <ds:schemaRef ds:uri="26382f21-48c2-451e-8429-bdee32f3307f"/>
    <ds:schemaRef ds:uri="4ed100de-1377-4b33-a597-721b61c9e03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D2791CE-5588-4C76-8AC7-0B0D4461CFD4}">
  <ds:schemaRefs>
    <ds:schemaRef ds:uri="http://schemas.microsoft.com/office/2006/documentManagement/types"/>
    <ds:schemaRef ds:uri="http://purl.org/dc/terms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26382f21-48c2-451e-8429-bdee32f3307f"/>
    <ds:schemaRef ds:uri="http://purl.org/dc/dcmitype/"/>
    <ds:schemaRef ds:uri="4ed100de-1377-4b33-a597-721b61c9e03c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eystone Strategy template_wide</Template>
  <TotalTime>138</TotalTime>
  <Words>2934</Words>
  <Application>Microsoft Office PowerPoint</Application>
  <PresentationFormat>On-screen Show (16:9)</PresentationFormat>
  <Paragraphs>673</Paragraphs>
  <Slides>2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Calibri</vt:lpstr>
      <vt:lpstr>Cambria Math</vt:lpstr>
      <vt:lpstr>Lucida Grande</vt:lpstr>
      <vt:lpstr>Microsoft Sans Serif</vt:lpstr>
      <vt:lpstr>Keystone_2016</vt:lpstr>
      <vt:lpstr>think-cell Slide</vt:lpstr>
      <vt:lpstr>Engagement Substitution on Social Forums: The Case of Meme Stocks and Reddit</vt:lpstr>
      <vt:lpstr>Community size in a social network is mainly tied to the extensive margin of value creation; Engagement is often triggered by interest waves</vt:lpstr>
      <vt:lpstr>The GameStop short-squeeze was attributed to WSB users which triggered increased outsider attention for WSB</vt:lpstr>
      <vt:lpstr>The meme stock mania drove unprecedented engagement on Reddit</vt:lpstr>
      <vt:lpstr>We can observe two sets of existing Reddit users of interest based on when they commented on r/WSB and other Subreddits</vt:lpstr>
      <vt:lpstr>PowerPoint Presentation</vt:lpstr>
      <vt:lpstr>The pooled results show that the shock on r/wallstreetbets was largely transient: engagement increased rapidly but died down quickly after</vt:lpstr>
      <vt:lpstr>Although an interesting pattern emerges when splitting users by their pre-shock levels of engagement…</vt:lpstr>
      <vt:lpstr>Low engagement users seemed to get a wake-up call and started engaging nearly 10x more with Reddit following the shock</vt:lpstr>
      <vt:lpstr>However, the opposite was true for the engaged users who substituted during the shock and engaged less following the shock</vt:lpstr>
      <vt:lpstr>So far we’ve looked at a broad group of users – what happens if we look at pre-existing r/wallstreetbets users v. new r/wallstreetbets users?</vt:lpstr>
      <vt:lpstr>Comparison of Groups A and B (pre- and post-shock r/WSB commenters) shows only a few noticeable differences…</vt:lpstr>
      <vt:lpstr>…however, when splitting by engagement metrics, it’s clear there was a more pronounced effect on low engagement Group B commenters</vt:lpstr>
      <vt:lpstr>Additionally, when new users joined during the shock period, they continued to engage following the shock, at significant levels</vt:lpstr>
      <vt:lpstr>Appendix</vt:lpstr>
      <vt:lpstr>Data used for the analysis effectively cover the entire post and comment history of Reddit, from Pushshift.io</vt:lpstr>
      <vt:lpstr>To examine changes to user behavior over time, we examine three core periods, pre-shock, shock, and post-shock</vt:lpstr>
      <vt:lpstr>Regression results confirm our initial findings from the plots…</vt:lpstr>
      <vt:lpstr>Specifically, less engaged users complemented their engagement on r/wallstreetbets with engagement on other subreddits during the shock</vt:lpstr>
      <vt:lpstr>However, the most engaged users substituted their engagement during the shock</vt:lpstr>
      <vt:lpstr>Additionally, post-shock engagement is highly dependent on pre-shock levels of engagement…</vt:lpstr>
      <vt:lpstr>…with the most engaged users substituting their engage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 design examples</dc:title>
  <dc:creator>Evangelos Constantinou</dc:creator>
  <cp:lastModifiedBy>Keystone Strategy</cp:lastModifiedBy>
  <cp:revision>9</cp:revision>
  <dcterms:created xsi:type="dcterms:W3CDTF">2023-08-29T02:22:23Z</dcterms:created>
  <dcterms:modified xsi:type="dcterms:W3CDTF">2023-11-07T07:24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03D2704B6E3F4FBA5AA0FAF03F0328</vt:lpwstr>
  </property>
</Properties>
</file>